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95" r:id="rId2"/>
    <p:sldId id="460" r:id="rId3"/>
    <p:sldId id="462" r:id="rId4"/>
    <p:sldId id="412" r:id="rId5"/>
    <p:sldId id="454" r:id="rId6"/>
    <p:sldId id="443" r:id="rId7"/>
    <p:sldId id="463" r:id="rId8"/>
    <p:sldId id="458" r:id="rId9"/>
    <p:sldId id="466" r:id="rId10"/>
    <p:sldId id="467" r:id="rId11"/>
    <p:sldId id="468" r:id="rId12"/>
    <p:sldId id="471" r:id="rId13"/>
    <p:sldId id="469" r:id="rId14"/>
    <p:sldId id="470" r:id="rId15"/>
    <p:sldId id="465" r:id="rId16"/>
    <p:sldId id="472" r:id="rId17"/>
    <p:sldId id="473" r:id="rId18"/>
    <p:sldId id="474" r:id="rId19"/>
    <p:sldId id="450" r:id="rId20"/>
  </p:sldIdLst>
  <p:sldSz cx="12195175" cy="6858000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D2984FC6-A113-4FC5-8C90-6A8ED605F654}">
          <p14:sldIdLst>
            <p14:sldId id="395"/>
            <p14:sldId id="460"/>
            <p14:sldId id="462"/>
            <p14:sldId id="412"/>
            <p14:sldId id="454"/>
            <p14:sldId id="443"/>
            <p14:sldId id="463"/>
            <p14:sldId id="458"/>
            <p14:sldId id="466"/>
            <p14:sldId id="467"/>
            <p14:sldId id="468"/>
            <p14:sldId id="471"/>
            <p14:sldId id="469"/>
            <p14:sldId id="470"/>
            <p14:sldId id="465"/>
            <p14:sldId id="472"/>
            <p14:sldId id="473"/>
            <p14:sldId id="474"/>
            <p14:sldId id="450"/>
          </p14:sldIdLst>
        </p14:section>
        <p14:section name="Untitled Section" id="{483FC7DD-F306-4AFA-94B8-AF9E8192AB82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3748">
          <p15:clr>
            <a:srgbClr val="A4A3A4"/>
          </p15:clr>
        </p15:guide>
        <p15:guide id="2" orient="horz" pos="1071">
          <p15:clr>
            <a:srgbClr val="A4A3A4"/>
          </p15:clr>
        </p15:guide>
        <p15:guide id="3" pos="3478">
          <p15:clr>
            <a:srgbClr val="A4A3A4"/>
          </p15:clr>
        </p15:guide>
        <p15:guide id="4" pos="3705">
          <p15:clr>
            <a:srgbClr val="A4A3A4"/>
          </p15:clr>
        </p15:guide>
        <p15:guide id="5" pos="7560">
          <p15:clr>
            <a:srgbClr val="A4A3A4"/>
          </p15:clr>
        </p15:guide>
        <p15:guide id="6" pos="348">
          <p15:clr>
            <a:srgbClr val="A4A3A4"/>
          </p15:clr>
        </p15:guide>
        <p15:guide id="7" pos="2390">
          <p15:clr>
            <a:srgbClr val="A4A3A4"/>
          </p15:clr>
        </p15:guide>
        <p15:guide id="8" pos="2616">
          <p15:clr>
            <a:srgbClr val="A4A3A4"/>
          </p15:clr>
        </p15:guide>
        <p15:guide id="9" pos="4567">
          <p15:clr>
            <a:srgbClr val="A4A3A4"/>
          </p15:clr>
        </p15:guide>
        <p15:guide id="10" pos="4794">
          <p15:clr>
            <a:srgbClr val="A4A3A4"/>
          </p15:clr>
        </p15:guide>
        <p15:guide id="11" pos="6835">
          <p15:clr>
            <a:srgbClr val="A4A3A4"/>
          </p15:clr>
        </p15:guide>
        <p15:guide id="12" pos="1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5637">
          <p15:clr>
            <a:srgbClr val="A4A3A4"/>
          </p15:clr>
        </p15:guide>
        <p15:guide id="2" orient="horz" pos="1944">
          <p15:clr>
            <a:srgbClr val="A4A3A4"/>
          </p15:clr>
        </p15:guide>
        <p15:guide id="3" orient="horz" pos="270">
          <p15:clr>
            <a:srgbClr val="A4A3A4"/>
          </p15:clr>
        </p15:guide>
        <p15:guide id="4" pos="297">
          <p15:clr>
            <a:srgbClr val="A4A3A4"/>
          </p15:clr>
        </p15:guide>
        <p15:guide id="5" pos="398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00099"/>
    <a:srgbClr val="3366FF"/>
    <a:srgbClr val="63636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14157335-EB13-44B1-876C-26414CB51497}">
  <a:tblStyle styleId="{14157335-EB13-44B1-876C-26414CB51497}" styleName="M+H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rgbClr val="BFBFBF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rgbClr val="BFBFBF"/>
              </a:solidFill>
            </a:ln>
          </a:insideH>
          <a:insideV>
            <a:ln w="9525" cmpd="sng">
              <a:solidFill>
                <a:srgbClr val="BFBFBF"/>
              </a:solidFill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chemeClr val="bg2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chemeClr val="lt2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B1D9A1"/>
          </a:solidFill>
        </a:fill>
      </a:tcStyle>
    </a:lastRow>
    <a:se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rgbClr val="3CA014"/>
          </a:solidFill>
        </a:fill>
      </a:tcStyle>
    </a:seCell>
    <a:sw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rgbClr val="3CA014"/>
          </a:solidFill>
        </a:fill>
      </a:tcStyle>
    </a:swCell>
    <a:firstRow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531" autoAdjust="0"/>
    <p:restoredTop sz="88875" autoAdjust="0"/>
  </p:normalViewPr>
  <p:slideViewPr>
    <p:cSldViewPr showGuides="1">
      <p:cViewPr varScale="1">
        <p:scale>
          <a:sx n="65" d="100"/>
          <a:sy n="65" d="100"/>
        </p:scale>
        <p:origin x="-864" y="-96"/>
      </p:cViewPr>
      <p:guideLst>
        <p:guide orient="horz" pos="3748"/>
        <p:guide orient="horz" pos="1071"/>
        <p:guide pos="3478"/>
        <p:guide pos="3705"/>
        <p:guide pos="7560"/>
        <p:guide pos="348"/>
        <p:guide pos="2390"/>
        <p:guide pos="2616"/>
        <p:guide pos="4567"/>
        <p:guide pos="479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60" d="100"/>
          <a:sy n="60" d="100"/>
        </p:scale>
        <p:origin x="2794" y="48"/>
      </p:cViewPr>
      <p:guideLst>
        <p:guide orient="horz" pos="5637"/>
        <p:guide orient="horz" pos="1944"/>
        <p:guide orient="horz" pos="270"/>
        <p:guide pos="297"/>
        <p:guide pos="398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5183329" y="9127994"/>
            <a:ext cx="1141867" cy="45303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472479" y="9273996"/>
            <a:ext cx="785121" cy="37959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1328261" y="9286920"/>
            <a:ext cx="2570272" cy="1563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22.02.2016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1328261" y="9448137"/>
            <a:ext cx="3461283" cy="1563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MHIN Business Review </a:t>
            </a:r>
          </a:p>
        </p:txBody>
      </p:sp>
      <p:cxnSp>
        <p:nvCxnSpPr>
          <p:cNvPr id="14" name="Gerade Verbindung 13"/>
          <p:cNvCxnSpPr/>
          <p:nvPr/>
        </p:nvCxnSpPr>
        <p:spPr bwMode="gray">
          <a:xfrm>
            <a:off x="1257600" y="9317541"/>
            <a:ext cx="0" cy="258506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84313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80988" y="431800"/>
            <a:ext cx="4440237" cy="2498725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061" y="3086564"/>
            <a:ext cx="5853554" cy="58629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5183329" y="9127994"/>
            <a:ext cx="1141867" cy="453035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 bwMode="gray">
          <a:xfrm>
            <a:off x="472479" y="9273996"/>
            <a:ext cx="785121" cy="37959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1328261" y="9286920"/>
            <a:ext cx="2570272" cy="1563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T.MM.JJJJ xxx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1328261" y="9448137"/>
            <a:ext cx="3461283" cy="1563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itle</a:t>
            </a:r>
            <a:r>
              <a:rPr lang="en-US" sz="1000" baseline="0" noProof="0" dirty="0">
                <a:solidFill>
                  <a:schemeClr val="tx1"/>
                </a:solidFill>
              </a:rPr>
              <a:t> of presentation</a:t>
            </a:r>
            <a:endParaRPr lang="en-US" sz="1000" noProof="0" dirty="0">
              <a:solidFill>
                <a:schemeClr val="tx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1257600" y="9317541"/>
            <a:ext cx="0" cy="258506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48345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31800"/>
            <a:ext cx="4443413" cy="25003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1104" y="9419094"/>
            <a:ext cx="642300" cy="31265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5355418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26759026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+Notification No. 69/2019 dated 13.12.2019</a:t>
            </a:r>
          </a:p>
        </p:txBody>
      </p:sp>
    </p:spTree>
    <p:extLst>
      <p:ext uri="{BB962C8B-B14F-4D97-AF65-F5344CB8AC3E}">
        <p14:creationId xmlns:p14="http://schemas.microsoft.com/office/powerpoint/2010/main" xmlns="" val="39285838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2393864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28447922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72398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+ Notification 14/2020 as amended by Notification 71/2020</a:t>
            </a:r>
          </a:p>
          <a:p>
            <a:r>
              <a:rPr lang="en-US" i="0" dirty="0"/>
              <a:t>++ Notification 89/2020 </a:t>
            </a:r>
          </a:p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30073864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22310743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 tax Rates are 0, 0.5, 1, 2, 3, 5, 12, 18, 28</a:t>
            </a:r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22985249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 tax Rates are 0, 0.5, 1, 2, 3, 5, 12, 18, 28</a:t>
            </a:r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5550504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455080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+ Notification No. 72/2020 [rule 46(r)]</a:t>
            </a:r>
          </a:p>
        </p:txBody>
      </p:sp>
    </p:spTree>
    <p:extLst>
      <p:ext uri="{BB962C8B-B14F-4D97-AF65-F5344CB8AC3E}">
        <p14:creationId xmlns:p14="http://schemas.microsoft.com/office/powerpoint/2010/main" xmlns="" val="767978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+Notification 61/2020 30.07.2020</a:t>
            </a:r>
          </a:p>
          <a:p>
            <a:r>
              <a:rPr lang="en-US" i="0" dirty="0"/>
              <a:t>++ Notification 88/2020 10.11.2020</a:t>
            </a:r>
          </a:p>
          <a:p>
            <a:r>
              <a:rPr lang="en-US" i="0" dirty="0"/>
              <a:t>+++ Notification 73/2020 01.10.2020</a:t>
            </a:r>
          </a:p>
        </p:txBody>
      </p:sp>
    </p:spTree>
    <p:extLst>
      <p:ext uri="{BB962C8B-B14F-4D97-AF65-F5344CB8AC3E}">
        <p14:creationId xmlns:p14="http://schemas.microsoft.com/office/powerpoint/2010/main" xmlns="" val="2769346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SON</a:t>
            </a:r>
            <a:r>
              <a:rPr lang="en-US" baseline="0" dirty="0"/>
              <a:t> format is </a:t>
            </a:r>
            <a:r>
              <a:rPr lang="en-US" baseline="0" dirty="0">
                <a:sym typeface="Wingdings" panose="05000000000000000000" pitchFamily="2" charset="2"/>
              </a:rPr>
              <a:t> </a:t>
            </a:r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 stores </a:t>
            </a:r>
            <a:r>
              <a:rPr lang="en-US" sz="11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data structures and objects in JavaScript Object Notation </a:t>
            </a:r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JSON) format, which is a standard data interchange format</a:t>
            </a:r>
            <a:endParaRPr lang="en-US" i="0" dirty="0"/>
          </a:p>
          <a:p>
            <a:r>
              <a:rPr lang="en-US" i="0" dirty="0"/>
              <a:t>IRN</a:t>
            </a:r>
            <a:r>
              <a:rPr lang="en-US" i="0" baseline="0" dirty="0"/>
              <a:t> </a:t>
            </a:r>
            <a:r>
              <a:rPr lang="en-US" i="0" baseline="0" dirty="0">
                <a:sym typeface="Wingdings" panose="05000000000000000000" pitchFamily="2" charset="2"/>
              </a:rPr>
              <a:t> </a:t>
            </a:r>
            <a:r>
              <a:rPr lang="en-US" i="0" baseline="0" dirty="0"/>
              <a:t>Invoice Reference Number (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STIN+financial year+Invoice No.+document Type)</a:t>
            </a:r>
            <a:endParaRPr lang="en-US" i="0" baseline="0" dirty="0"/>
          </a:p>
        </p:txBody>
      </p:sp>
    </p:spTree>
    <p:extLst>
      <p:ext uri="{BB962C8B-B14F-4D97-AF65-F5344CB8AC3E}">
        <p14:creationId xmlns:p14="http://schemas.microsoft.com/office/powerpoint/2010/main" xmlns="" val="2764041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326553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568388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+ Notification 13/2020 </a:t>
            </a:r>
            <a:r>
              <a:rPr lang="en-US" i="0" dirty="0">
                <a:sym typeface="Wingdings" panose="05000000000000000000" pitchFamily="2" charset="2"/>
              </a:rPr>
              <a:t> </a:t>
            </a:r>
            <a:r>
              <a:rPr lang="en-US" i="0" dirty="0"/>
              <a:t>Other than RP specified under Rule 54 (2) (3) (4) &amp; (4A)</a:t>
            </a:r>
          </a:p>
        </p:txBody>
      </p:sp>
    </p:spTree>
    <p:extLst>
      <p:ext uri="{BB962C8B-B14F-4D97-AF65-F5344CB8AC3E}">
        <p14:creationId xmlns:p14="http://schemas.microsoft.com/office/powerpoint/2010/main" xmlns="" val="4201007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1485081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r>
              <a:rPr lang="en-US" i="0" dirty="0"/>
              <a:t>+ </a:t>
            </a:r>
            <a:r>
              <a:rPr lang="en-US" dirty="0">
                <a:effectLst/>
              </a:rPr>
              <a:t>Bill to outside Indian Customer but Hotel services provided within India [URD], POS India</a:t>
            </a:r>
            <a:endParaRPr lang="en-US" sz="11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xmlns="" val="460135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2.jpe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jpe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41307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9494" name="think-cell Slide" r:id="rId4" imgW="360" imgH="360" progId="">
              <p:embed/>
            </p:oleObj>
          </a:graphicData>
        </a:graphic>
      </p:graphicFrame>
      <p:sp>
        <p:nvSpPr>
          <p:cNvPr id="10" name="Rechteck 13"/>
          <p:cNvSpPr/>
          <p:nvPr userDrawn="1"/>
        </p:nvSpPr>
        <p:spPr bwMode="gray">
          <a:xfrm>
            <a:off x="193675" y="6237312"/>
            <a:ext cx="10080376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7"/>
          </a:xfrm>
          <a:prstGeom prst="rect">
            <a:avLst/>
          </a:prstGeom>
          <a:solidFill>
            <a:srgbClr val="EB690F"/>
          </a:solidFill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5379" y="1196752"/>
            <a:ext cx="3744416" cy="3744416"/>
          </a:xfrm>
          <a:blipFill>
            <a:blip r:embed="rId6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800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5379" y="4581128"/>
            <a:ext cx="3744416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5379" y="4077072"/>
            <a:ext cx="3744416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xmlns="" val="566257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38049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8631" name="think-cell Slide" r:id="rId4" imgW="360" imgH="360" progId="">
              <p:embed/>
            </p:oleObj>
          </a:graphicData>
        </a:graphic>
      </p:graphicFrame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75" y="188914"/>
            <a:ext cx="11808568" cy="5761036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1974896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29500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9652" name="think-cell Slide" r:id="rId4" imgW="360" imgH="360" progId="">
              <p:embed/>
            </p:oleObj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931" y="188640"/>
            <a:ext cx="11809312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2497217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69291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518" name="think-cell Slide" r:id="rId4" imgW="360" imgH="360" progId="">
              <p:embed/>
            </p:oleObj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691" y="1743276"/>
            <a:ext cx="4105944" cy="2659484"/>
            <a:chOff x="3013829" y="1420446"/>
            <a:chExt cx="3412816" cy="2210534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611" y="296485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4154" y="256532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50113" y="2636912"/>
            <a:ext cx="3600450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894" y="346763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6192" y="324011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60479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9301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7266" name="think-cell Slide" r:id="rId4" imgW="360" imgH="360" progId="">
              <p:embed/>
            </p:oleObj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923" y="980776"/>
            <a:ext cx="891063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690" y="2067126"/>
            <a:ext cx="4105944" cy="2659484"/>
            <a:chOff x="3013829" y="1420446"/>
            <a:chExt cx="3412816" cy="2210534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610" y="328870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4153" y="288917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893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6191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91325" y="2067126"/>
            <a:ext cx="4105944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5245" y="328870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7528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7826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4892" y="2859179"/>
            <a:ext cx="3707647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xmlns="" val="1619298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63677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608" name="think-cell Slide" r:id="rId4" imgW="360" imgH="360" progId="">
              <p:embed/>
            </p:oleObj>
          </a:graphicData>
        </a:graphic>
      </p:graphicFrame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4115" y="2761656"/>
            <a:ext cx="6696000" cy="615553"/>
          </a:xfrm>
          <a:noFill/>
        </p:spPr>
        <p:txBody>
          <a:bodyPr anchor="ctr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895653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219451"/>
            <a:ext cx="12195175" cy="303847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latin typeface="+mj-lt"/>
                <a:cs typeface="Arabic Transparent" pitchFamily="2" charset="-78"/>
              </a:defRPr>
            </a:lvl1pPr>
          </a:lstStyle>
          <a:p>
            <a:pPr algn="ctr"/>
            <a:r>
              <a:rPr lang="en-US" sz="3600" dirty="0"/>
              <a:t>&lt;</a:t>
            </a:r>
            <a:r>
              <a:rPr lang="cs-CZ" sz="3600" dirty="0"/>
              <a:t>Title</a:t>
            </a:r>
            <a:r>
              <a:rPr lang="en-US" sz="3600" dirty="0"/>
              <a:t>&gt;</a:t>
            </a:r>
            <a:r>
              <a:rPr lang="de-DE" dirty="0"/>
              <a:t/>
            </a:r>
            <a:br>
              <a:rPr lang="de-DE" dirty="0"/>
            </a:br>
            <a:endParaRPr lang="cs-CZ" dirty="0"/>
          </a:p>
          <a:p>
            <a:pPr algn="ctr"/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&lt;</a:t>
            </a:r>
            <a:r>
              <a:rPr lang="cs-CZ" sz="1800" dirty="0"/>
              <a:t>author</a:t>
            </a:r>
            <a:r>
              <a:rPr lang="de-DE" sz="1800" dirty="0"/>
              <a:t>; </a:t>
            </a:r>
            <a:r>
              <a:rPr lang="cs-CZ" sz="1800" dirty="0"/>
              <a:t>location</a:t>
            </a:r>
            <a:r>
              <a:rPr lang="de-DE" sz="1800" dirty="0"/>
              <a:t>;</a:t>
            </a:r>
            <a:r>
              <a:rPr lang="cs-CZ" sz="1800" dirty="0"/>
              <a:t> department</a:t>
            </a:r>
            <a:r>
              <a:rPr lang="en-US" sz="1800" dirty="0"/>
              <a:t>&gt;</a:t>
            </a:r>
          </a:p>
          <a:p>
            <a:pPr algn="ctr"/>
            <a:r>
              <a:rPr lang="en-US" sz="1800" dirty="0"/>
              <a:t>&lt;date&gt;</a:t>
            </a:r>
            <a:endParaRPr lang="cs-CZ" dirty="0"/>
          </a:p>
          <a:p>
            <a:pPr algn="ctr"/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xmlns="" val="3109923606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26123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1479" name="think-cell Slide" r:id="rId4" imgW="360" imgH="360" progId="">
              <p:embed/>
            </p:oleObj>
          </a:graphicData>
        </a:graphic>
      </p:graphicFrame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70" y="800720"/>
            <a:ext cx="104276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84" y="908840"/>
            <a:ext cx="1009627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6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971" y="3893568"/>
            <a:ext cx="10296000" cy="615553"/>
          </a:xfrm>
          <a:noFill/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75" y="6237312"/>
            <a:ext cx="10080376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971" y="4725144"/>
            <a:ext cx="10296000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xmlns="" val="3847570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9373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97" name="think-cell Slide" r:id="rId4" imgW="360" imgH="360" progId="">
              <p:embed/>
            </p:oleObj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971" y="1700808"/>
            <a:ext cx="102960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54017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28056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540" name="think-cell Slide" r:id="rId4" imgW="360" imgH="360" progId="">
              <p:embed/>
            </p:oleObj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450" y="1700808"/>
            <a:ext cx="4968875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1688" y="1700808"/>
            <a:ext cx="4968875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0701770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923106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57" name="think-cell Slide" r:id="rId4" imgW="360" imgH="360" progId="">
              <p:embed/>
            </p:oleObj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450" y="1700808"/>
            <a:ext cx="3240000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2901" y="1700808"/>
            <a:ext cx="3097212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10475" y="1700808"/>
            <a:ext cx="3240000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428775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79508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8287" name="think-cell Slide" r:id="rId4" imgW="360" imgH="360" progId="">
              <p:embed/>
            </p:oleObj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75" y="188914"/>
            <a:ext cx="11808568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930" y="188913"/>
            <a:ext cx="11808569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200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200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800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xmlns="" val="1870920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27749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564" name="think-cell Slide" r:id="rId4" imgW="360" imgH="360" progId="">
              <p:embed/>
            </p:oleObj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xmlns="" val="1672373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8678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0670" name="think-cell Slide" r:id="rId4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881301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37456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587" name="think-cell Slide" r:id="rId4" imgW="360" imgH="360" progId="">
              <p:embed/>
            </p:oleObj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971" y="1700808"/>
            <a:ext cx="10296000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xmlns="" val="2196549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xmlns="" val="1246389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501" name="think-cell Slide" r:id="rId19" imgW="360" imgH="360" progId="">
              <p:embed/>
            </p:oleObj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971" y="332656"/>
            <a:ext cx="10296000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971" y="1700808"/>
            <a:ext cx="10296000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cxnSp>
        <p:nvCxnSpPr>
          <p:cNvPr id="615" name="Gerade Verbindung 614"/>
          <p:cNvCxnSpPr/>
          <p:nvPr userDrawn="1"/>
        </p:nvCxnSpPr>
        <p:spPr bwMode="gray">
          <a:xfrm>
            <a:off x="-167101" y="188640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 userDrawn="1"/>
        </p:nvCxnSpPr>
        <p:spPr bwMode="gray">
          <a:xfrm>
            <a:off x="-167117" y="1700808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 userDrawn="1"/>
        </p:nvCxnSpPr>
        <p:spPr bwMode="gray">
          <a:xfrm>
            <a:off x="-167133" y="5949280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 userDrawn="1"/>
        </p:nvCxnSpPr>
        <p:spPr bwMode="gray">
          <a:xfrm>
            <a:off x="1929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 userDrawn="1"/>
        </p:nvCxnSpPr>
        <p:spPr bwMode="gray">
          <a:xfrm>
            <a:off x="5529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 userDrawn="1"/>
        </p:nvCxnSpPr>
        <p:spPr bwMode="gray">
          <a:xfrm>
            <a:off x="552152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 userDrawn="1"/>
        </p:nvCxnSpPr>
        <p:spPr bwMode="gray">
          <a:xfrm>
            <a:off x="108501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 userDrawn="1"/>
        </p:nvCxnSpPr>
        <p:spPr bwMode="gray">
          <a:xfrm>
            <a:off x="120022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 userDrawn="1"/>
        </p:nvCxnSpPr>
        <p:spPr bwMode="gray">
          <a:xfrm>
            <a:off x="588156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>
            <a:off x="37933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>
            <a:off x="41533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 userDrawn="1"/>
        </p:nvCxnSpPr>
        <p:spPr bwMode="gray">
          <a:xfrm>
            <a:off x="72497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 bwMode="gray">
          <a:xfrm rot="21540000">
            <a:off x="7609127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 userDrawn="1"/>
        </p:nvSpPr>
        <p:spPr bwMode="gray">
          <a:xfrm>
            <a:off x="552971" y="6333708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416347" y="6340851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baseline="0" noProof="0" dirty="0">
                <a:solidFill>
                  <a:schemeClr val="tx1"/>
                </a:solidFill>
              </a:rPr>
              <a:t>29</a:t>
            </a:r>
            <a:r>
              <a:rPr lang="en-US" sz="1000" baseline="30000" noProof="0" dirty="0">
                <a:solidFill>
                  <a:schemeClr val="tx1"/>
                </a:solidFill>
              </a:rPr>
              <a:t>th</a:t>
            </a:r>
            <a:r>
              <a:rPr lang="en-US" sz="1000" baseline="0" noProof="0" dirty="0">
                <a:solidFill>
                  <a:schemeClr val="tx1"/>
                </a:solidFill>
              </a:rPr>
              <a:t> Dec 2020</a:t>
            </a:r>
            <a:endParaRPr lang="en-US" sz="1000" noProof="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1416347" y="6489357"/>
            <a:ext cx="640943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dirty="0">
                <a:solidFill>
                  <a:srgbClr val="00732D"/>
                </a:solidFill>
              </a:rPr>
              <a:t>GST</a:t>
            </a:r>
            <a:endParaRPr lang="en-US" sz="1000" noProof="0" dirty="0">
              <a:solidFill>
                <a:srgbClr val="00732D"/>
              </a:solidFill>
            </a:endParaRPr>
          </a:p>
        </p:txBody>
      </p:sp>
      <p:cxnSp>
        <p:nvCxnSpPr>
          <p:cNvPr id="34" name="Gerade Verbindung 33"/>
          <p:cNvCxnSpPr/>
          <p:nvPr userDrawn="1"/>
        </p:nvCxnSpPr>
        <p:spPr bwMode="gray">
          <a:xfrm>
            <a:off x="1345059" y="6369057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3289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66" r:id="rId5"/>
    <p:sldLayoutId id="2147483668" r:id="rId6"/>
    <p:sldLayoutId id="2147483657" r:id="rId7"/>
    <p:sldLayoutId id="2147483665" r:id="rId8"/>
    <p:sldLayoutId id="2147483660" r:id="rId9"/>
    <p:sldLayoutId id="2147483658" r:id="rId10"/>
    <p:sldLayoutId id="2147483662" r:id="rId11"/>
    <p:sldLayoutId id="2147483661" r:id="rId12"/>
    <p:sldLayoutId id="2147483667" r:id="rId13"/>
    <p:sldLayoutId id="2147483663" r:id="rId14"/>
    <p:sldLayoutId id="2147483678" r:id="rId1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einvoice6.gst.gov.in/" TargetMode="External"/><Relationship Id="rId3" Type="http://schemas.openxmlformats.org/officeDocument/2006/relationships/hyperlink" Target="https://einvoice1.gst.gov.in/" TargetMode="External"/><Relationship Id="rId7" Type="http://schemas.openxmlformats.org/officeDocument/2006/relationships/hyperlink" Target="https://einvoice5.gst.gov.in/" TargetMode="External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einvoice4.gst.gov.in/" TargetMode="External"/><Relationship Id="rId11" Type="http://schemas.openxmlformats.org/officeDocument/2006/relationships/hyperlink" Target="https://einvoice9.gst.gov.in/" TargetMode="External"/><Relationship Id="rId5" Type="http://schemas.openxmlformats.org/officeDocument/2006/relationships/hyperlink" Target="https://einvoice3.gst.gov.in/" TargetMode="External"/><Relationship Id="rId10" Type="http://schemas.openxmlformats.org/officeDocument/2006/relationships/hyperlink" Target="https://einvoice8.gst.gov.in/" TargetMode="External"/><Relationship Id="rId4" Type="http://schemas.openxmlformats.org/officeDocument/2006/relationships/hyperlink" Target="https://einvoice2.gst.gov.in/" TargetMode="External"/><Relationship Id="rId9" Type="http://schemas.openxmlformats.org/officeDocument/2006/relationships/hyperlink" Target="https://einvoice7.gst.gov.in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8715" name="think-cell Slide" r:id="rId5" imgW="360" imgH="360" progId="">
              <p:embed/>
            </p:oleObj>
          </a:graphicData>
        </a:graphic>
      </p:graphicFrame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4268787" y="2667000"/>
            <a:ext cx="3581400" cy="3287216"/>
          </a:xfrm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/>
          <a:p>
            <a:pPr algn="ctr"/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  <a:t>E-Invoice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  <a:t/>
            </a:r>
            <a:b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</a:b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  <a:t/>
            </a:r>
            <a:b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</a:b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askerville Old Face" pitchFamily="18" charset="0"/>
              </a:rPr>
              <a:t>GST - 2.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153371" y="5202560"/>
            <a:ext cx="3744416" cy="360040"/>
          </a:xfrm>
        </p:spPr>
        <p:txBody>
          <a:bodyPr/>
          <a:lstStyle/>
          <a:p>
            <a:pPr algn="ctr"/>
            <a:r>
              <a:rPr lang="en-US" sz="3200" dirty="0">
                <a:latin typeface="Baskerville Old Face" pitchFamily="18" charset="0"/>
              </a:rPr>
              <a:t>29</a:t>
            </a:r>
            <a:r>
              <a:rPr lang="en-US" sz="3200" baseline="30000" dirty="0">
                <a:latin typeface="Baskerville Old Face" pitchFamily="18" charset="0"/>
              </a:rPr>
              <a:t>th</a:t>
            </a:r>
            <a:r>
              <a:rPr lang="en-US" sz="3200" dirty="0">
                <a:latin typeface="Baskerville Old Face" pitchFamily="18" charset="0"/>
              </a:rPr>
              <a:t> Dec 2020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081363" y="4753744"/>
            <a:ext cx="3921224" cy="504056"/>
          </a:xfrm>
        </p:spPr>
        <p:txBody>
          <a:bodyPr/>
          <a:lstStyle/>
          <a:p>
            <a:pPr algn="ctr">
              <a:spcBef>
                <a:spcPts val="0"/>
              </a:spcBef>
            </a:pPr>
            <a:r>
              <a:rPr lang="en-US" dirty="0"/>
              <a:t> </a:t>
            </a:r>
            <a:r>
              <a:rPr lang="en-US" sz="3200" dirty="0">
                <a:latin typeface="Baskerville Old Face" pitchFamily="18" charset="0"/>
              </a:rPr>
              <a:t>by </a:t>
            </a:r>
            <a:endParaRPr lang="en-US" sz="3200" dirty="0" smtClean="0">
              <a:latin typeface="Baskerville Old Face" pitchFamily="18" charset="0"/>
            </a:endParaRPr>
          </a:p>
          <a:p>
            <a:pPr algn="ctr">
              <a:spcBef>
                <a:spcPts val="0"/>
              </a:spcBef>
            </a:pPr>
            <a:r>
              <a:rPr lang="en-US" sz="3200" dirty="0" err="1" smtClean="0">
                <a:latin typeface="Baskerville Old Face" pitchFamily="18" charset="0"/>
              </a:rPr>
              <a:t>Prasanna</a:t>
            </a:r>
            <a:r>
              <a:rPr lang="en-US" sz="3200" dirty="0" smtClean="0">
                <a:latin typeface="Baskerville Old Face" pitchFamily="18" charset="0"/>
              </a:rPr>
              <a:t> </a:t>
            </a:r>
            <a:r>
              <a:rPr lang="en-US" sz="3200" dirty="0">
                <a:latin typeface="Baskerville Old Face" pitchFamily="18" charset="0"/>
              </a:rPr>
              <a:t>Kumar K C</a:t>
            </a: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7987" y="457200"/>
            <a:ext cx="1219200" cy="198120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4702570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Consequences: - 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4674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If supplier not complied with eInvoice compliance, then such invoice will </a:t>
            </a:r>
            <a:r>
              <a:rPr lang="en-US" sz="2100" b="1" dirty="0">
                <a:solidFill>
                  <a:srgbClr val="EB690F"/>
                </a:solidFill>
              </a:rPr>
              <a:t>not</a:t>
            </a:r>
            <a:r>
              <a:rPr lang="en-US" sz="21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be treated as </a:t>
            </a:r>
            <a:r>
              <a:rPr lang="en-US" sz="2100" b="1" dirty="0">
                <a:solidFill>
                  <a:srgbClr val="EB690F"/>
                </a:solidFill>
              </a:rPr>
              <a:t>valid invoice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as per Rule 48(5)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100" b="1" dirty="0">
                <a:solidFill>
                  <a:srgbClr val="EB690F"/>
                </a:solidFill>
              </a:rPr>
              <a:t>Penalties as prescribed u/s 122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- Certain Scenarios: -</a:t>
            </a:r>
          </a:p>
          <a:p>
            <a:pPr marL="1257300" lvl="2" indent="-342900" algn="just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Supplies are made w/o issue of invoice</a:t>
            </a:r>
          </a:p>
          <a:p>
            <a:pPr marL="1257300" lvl="2" indent="-342900" algn="just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Fails to issue invoice in accordance with the provision</a:t>
            </a:r>
          </a:p>
          <a:p>
            <a:pPr lvl="2" algn="just">
              <a:lnSpc>
                <a:spcPts val="3000"/>
              </a:lnSpc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Penalty would be INR 10,000 OR tax amount W.E.H</a:t>
            </a:r>
          </a:p>
          <a:p>
            <a:pPr lvl="2" algn="just">
              <a:lnSpc>
                <a:spcPts val="3000"/>
              </a:lnSpc>
            </a:pP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100" b="1" dirty="0">
                <a:solidFill>
                  <a:srgbClr val="EB690F"/>
                </a:solidFill>
              </a:rPr>
              <a:t>No need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to issue invoices in Original / Duplicate / Triplicate – Rule 48(6)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100" b="1" dirty="0">
                <a:solidFill>
                  <a:srgbClr val="EB690F"/>
                </a:solidFill>
              </a:rPr>
              <a:t>Printed invoice is not necessary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be carried, IRN / QR code in electronic mode form shall be produced to the proper officer – Rule 138A(2) [shall be valid for 30 days]</a:t>
            </a: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2328445568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Invoice Registration Portal [IRP]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0223992" cy="3494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150000"/>
              </a:lnSpc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10 common GST electronic portal are notified</a:t>
            </a:r>
            <a:r>
              <a:rPr lang="en-US" sz="2100" baseline="30000" dirty="0">
                <a:solidFill>
                  <a:schemeClr val="bg1">
                    <a:lumMod val="50000"/>
                  </a:schemeClr>
                </a:solidFill>
              </a:rPr>
              <a:t>+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, effective from 01.01.2020 :-</a:t>
            </a:r>
          </a:p>
          <a:p>
            <a:pPr lvl="1" algn="just">
              <a:lnSpc>
                <a:spcPct val="150000"/>
              </a:lnSpc>
            </a:pP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14400" lvl="1" indent="-457200" algn="just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  <a:hlinkClick r:id="rId3"/>
              </a:rPr>
              <a:t>https://einvoice1.gst.gov.in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  <a:p>
            <a:pPr marL="914400" lvl="1" indent="-457200" algn="just">
              <a:lnSpc>
                <a:spcPct val="150000"/>
              </a:lnSpc>
              <a:buFontTx/>
              <a:buAutoNum type="arabicPeriod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2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14400" lvl="1" indent="-457200" algn="just">
              <a:lnSpc>
                <a:spcPct val="150000"/>
              </a:lnSpc>
              <a:buFontTx/>
              <a:buAutoNum type="arabicPeriod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3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14400" lvl="1" indent="-457200" algn="just">
              <a:lnSpc>
                <a:spcPct val="150000"/>
              </a:lnSpc>
              <a:buFontTx/>
              <a:buAutoNum type="arabicPeriod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4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14400" lvl="1" indent="-457200" algn="just">
              <a:lnSpc>
                <a:spcPct val="150000"/>
              </a:lnSpc>
              <a:buFontTx/>
              <a:buAutoNum type="arabicPeriod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5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49B0E95-B649-4448-9136-35D099215D35}"/>
              </a:ext>
            </a:extLst>
          </p:cNvPr>
          <p:cNvSpPr/>
          <p:nvPr/>
        </p:nvSpPr>
        <p:spPr>
          <a:xfrm>
            <a:off x="5737547" y="2200907"/>
            <a:ext cx="6096000" cy="245618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71550" lvl="1" indent="-514350" algn="just">
              <a:lnSpc>
                <a:spcPct val="150000"/>
              </a:lnSpc>
              <a:buFont typeface="+mj-lt"/>
              <a:buAutoNum type="arabicPeriod" startAt="6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6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 startAt="6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7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 startAt="6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8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 startAt="6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9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 startAt="6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invoice10.gst.gov.in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160EF907-B4E0-4C17-A5AA-595E7945D527}"/>
              </a:ext>
            </a:extLst>
          </p:cNvPr>
          <p:cNvSpPr/>
          <p:nvPr/>
        </p:nvSpPr>
        <p:spPr>
          <a:xfrm>
            <a:off x="394350" y="4941168"/>
            <a:ext cx="17887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63B343"/>
                </a:solidFill>
              </a:rPr>
              <a:t>e-Way Bil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BABCF3E-41EB-46E3-A3F5-EDE99C908FC2}"/>
              </a:ext>
            </a:extLst>
          </p:cNvPr>
          <p:cNvSpPr/>
          <p:nvPr/>
        </p:nvSpPr>
        <p:spPr>
          <a:xfrm>
            <a:off x="512822" y="5439999"/>
            <a:ext cx="6096000" cy="517193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algn="just">
              <a:lnSpc>
                <a:spcPct val="150000"/>
              </a:lnSpc>
            </a:pPr>
            <a:r>
              <a:rPr lang="en-US" sz="2100" b="1" dirty="0">
                <a:solidFill>
                  <a:srgbClr val="EB690F"/>
                </a:solidFill>
              </a:rPr>
              <a:t>e-Way Bill required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in addition to e-Invoice? </a:t>
            </a:r>
          </a:p>
        </p:txBody>
      </p:sp>
      <p:pic>
        <p:nvPicPr>
          <p:cNvPr id="8" name="Picture 7" descr="C:\Users\Administrator\AppData\Local\Microsoft\Windows Live Mail\WLMDSS.tmp\WLM577A.tmp\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830033656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Other aspect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449272" cy="47000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When to report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Invoice details to IRP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 should be in line with </a:t>
            </a:r>
            <a:r>
              <a:rPr lang="en-US" sz="2000" dirty="0">
                <a:solidFill>
                  <a:srgbClr val="3CA014"/>
                </a:solidFill>
                <a:sym typeface="Wingdings" panose="05000000000000000000" pitchFamily="2" charset="2"/>
              </a:rPr>
              <a:t>Sec.31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Invoic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require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signatur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as it is already singed by the IRP  it is governed by </a:t>
            </a:r>
            <a:r>
              <a:rPr lang="en-US" sz="2000" dirty="0">
                <a:solidFill>
                  <a:srgbClr val="3CA014"/>
                </a:solidFill>
                <a:sym typeface="Wingdings" panose="05000000000000000000" pitchFamily="2" charset="2"/>
              </a:rPr>
              <a:t>Rule 46 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Transportatio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of goods without valid eInvoice  lead to </a:t>
            </a:r>
            <a:r>
              <a:rPr lang="en-US" sz="2000" dirty="0">
                <a:solidFill>
                  <a:srgbClr val="3CA014"/>
                </a:solidFill>
                <a:sym typeface="Wingdings" panose="05000000000000000000" pitchFamily="2" charset="2"/>
              </a:rPr>
              <a:t>detentio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of </a:t>
            </a:r>
            <a:r>
              <a:rPr lang="en-US" sz="2000" dirty="0">
                <a:solidFill>
                  <a:srgbClr val="3CA014"/>
                </a:solidFill>
                <a:sym typeface="Wingdings" panose="05000000000000000000" pitchFamily="2" charset="2"/>
              </a:rPr>
              <a:t>goods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/ vehicle and penalty 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Any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time limit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to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repor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at IRP  no such validation built in at present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Discloser of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TCS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 under </a:t>
            </a:r>
            <a:r>
              <a:rPr lang="en-US" sz="2000" dirty="0">
                <a:solidFill>
                  <a:srgbClr val="3CA014"/>
                </a:solidFill>
                <a:sym typeface="Wingdings" panose="05000000000000000000" pitchFamily="2" charset="2"/>
              </a:rPr>
              <a:t>other charges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invoice level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Incase of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DN / CN reporting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of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original invoic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number is not necessary for eInvoice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e-Invoice can be issued with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more than 1 QR Cod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issued by IRP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No restriction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to use company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logo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in the invoice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Maximum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100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line items can be reported in an invoice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Freight, insurance, packing &amp; forwarding </a:t>
            </a:r>
            <a:r>
              <a:rPr lang="en-US" sz="2000" dirty="0" err="1">
                <a:solidFill>
                  <a:srgbClr val="EB690F"/>
                </a:solidFill>
                <a:sym typeface="Wingdings" panose="05000000000000000000" pitchFamily="2" charset="2"/>
              </a:rPr>
              <a:t>chgs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may be added as one more line item in the invoice</a:t>
            </a:r>
          </a:p>
          <a:p>
            <a:pPr marL="342900" indent="-342900" algn="just">
              <a:lnSpc>
                <a:spcPts val="33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Blocking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of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direc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generatio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of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e-way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bill for e-Invoice has been deferred to 31.12.2020</a:t>
            </a: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496363658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Cancel / Amend of e-Invoice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CF599AEB-1BB6-4239-B97C-ECB261D9FFEA}"/>
              </a:ext>
            </a:extLst>
          </p:cNvPr>
          <p:cNvSpPr/>
          <p:nvPr/>
        </p:nvSpPr>
        <p:spPr bwMode="gray">
          <a:xfrm>
            <a:off x="3721322" y="1556790"/>
            <a:ext cx="7632849" cy="2160242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3CA014"/>
                </a:solidFill>
              </a:rPr>
              <a:t>IRN shall be cancelled </a:t>
            </a:r>
            <a:r>
              <a:rPr lang="en-US" sz="2000" dirty="0">
                <a:solidFill>
                  <a:srgbClr val="EB690F"/>
                </a:solidFill>
              </a:rPr>
              <a:t>within 24 hours </a:t>
            </a:r>
            <a:r>
              <a:rPr lang="en-US" sz="2000" dirty="0">
                <a:solidFill>
                  <a:srgbClr val="3CA014"/>
                </a:solidFill>
              </a:rPr>
              <a:t>of gener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No Partial </a:t>
            </a:r>
            <a:r>
              <a:rPr lang="en-US" sz="2000" dirty="0">
                <a:solidFill>
                  <a:srgbClr val="3CA014"/>
                </a:solidFill>
              </a:rPr>
              <a:t>Cancell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3CA014"/>
                </a:solidFill>
              </a:rPr>
              <a:t>If connected </a:t>
            </a:r>
            <a:r>
              <a:rPr lang="en-US" sz="2000" dirty="0">
                <a:solidFill>
                  <a:srgbClr val="EB690F"/>
                </a:solidFill>
              </a:rPr>
              <a:t>e-way bill </a:t>
            </a:r>
            <a:r>
              <a:rPr lang="en-US" sz="2000" dirty="0">
                <a:solidFill>
                  <a:srgbClr val="3CA014"/>
                </a:solidFill>
              </a:rPr>
              <a:t>is </a:t>
            </a:r>
            <a:r>
              <a:rPr lang="en-US" sz="2000" dirty="0">
                <a:solidFill>
                  <a:srgbClr val="EB690F"/>
                </a:solidFill>
              </a:rPr>
              <a:t>active,</a:t>
            </a:r>
            <a:r>
              <a:rPr lang="en-US" sz="2000" dirty="0">
                <a:solidFill>
                  <a:srgbClr val="3CA014"/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IRN can’t </a:t>
            </a:r>
            <a:r>
              <a:rPr lang="en-US" sz="2000" dirty="0">
                <a:solidFill>
                  <a:srgbClr val="3CA014"/>
                </a:solidFill>
              </a:rPr>
              <a:t>be cancell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e-way</a:t>
            </a:r>
            <a:r>
              <a:rPr lang="en-US" sz="2000" dirty="0">
                <a:solidFill>
                  <a:srgbClr val="3CA014"/>
                </a:solidFill>
              </a:rPr>
              <a:t> bill once </a:t>
            </a:r>
            <a:r>
              <a:rPr lang="en-US" sz="2000" dirty="0">
                <a:solidFill>
                  <a:srgbClr val="EB690F"/>
                </a:solidFill>
              </a:rPr>
              <a:t>verified</a:t>
            </a:r>
            <a:r>
              <a:rPr lang="en-US" sz="2000" dirty="0">
                <a:solidFill>
                  <a:srgbClr val="3CA014"/>
                </a:solidFill>
              </a:rPr>
              <a:t> by the officer during transit </a:t>
            </a:r>
            <a:r>
              <a:rPr lang="en-US" sz="2000" dirty="0">
                <a:solidFill>
                  <a:srgbClr val="EB690F"/>
                </a:solidFill>
              </a:rPr>
              <a:t>IRN can’t </a:t>
            </a:r>
            <a:r>
              <a:rPr lang="en-US" sz="2000" dirty="0">
                <a:solidFill>
                  <a:srgbClr val="3CA014"/>
                </a:solidFill>
              </a:rPr>
              <a:t>be cancell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3CA014"/>
                </a:solidFill>
              </a:rPr>
              <a:t>No invoice number can be used of a cancelled IRN again</a:t>
            </a:r>
            <a:endParaRPr lang="en-IN" sz="2000" dirty="0" err="1">
              <a:solidFill>
                <a:srgbClr val="3CA014"/>
              </a:solidFill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27BD68E1-E9E2-4270-A214-62D59A5DDEAA}"/>
              </a:ext>
            </a:extLst>
          </p:cNvPr>
          <p:cNvSpPr/>
          <p:nvPr/>
        </p:nvSpPr>
        <p:spPr bwMode="gray">
          <a:xfrm>
            <a:off x="841003" y="1556791"/>
            <a:ext cx="2664296" cy="2160241"/>
          </a:xfrm>
          <a:prstGeom prst="homePlate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dirty="0">
                <a:solidFill>
                  <a:srgbClr val="3CA014"/>
                </a:solidFill>
              </a:rPr>
              <a:t>Cancellation</a:t>
            </a:r>
            <a:endParaRPr lang="en-IN" sz="1800" dirty="0" err="1">
              <a:solidFill>
                <a:srgbClr val="3CA014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E39A63F0-430B-4F4A-A978-7961F200EB51}"/>
              </a:ext>
            </a:extLst>
          </p:cNvPr>
          <p:cNvSpPr/>
          <p:nvPr/>
        </p:nvSpPr>
        <p:spPr bwMode="gray">
          <a:xfrm>
            <a:off x="3739181" y="4077069"/>
            <a:ext cx="7632849" cy="136931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No Amendmen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3CA014"/>
                </a:solidFill>
              </a:rPr>
              <a:t>Any amendments shall only </a:t>
            </a:r>
            <a:r>
              <a:rPr lang="en-US" sz="2000" dirty="0">
                <a:solidFill>
                  <a:srgbClr val="EB690F"/>
                </a:solidFill>
              </a:rPr>
              <a:t>while filing GSTR1 </a:t>
            </a:r>
            <a:r>
              <a:rPr lang="en-US" sz="2000" dirty="0">
                <a:solidFill>
                  <a:srgbClr val="3CA014"/>
                </a:solidFill>
              </a:rPr>
              <a:t>return [except 4 fields which used to generate IRN]</a:t>
            </a:r>
            <a:endParaRPr lang="en-IN" sz="2000" dirty="0" err="1">
              <a:solidFill>
                <a:srgbClr val="3CA014"/>
              </a:solidFill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xmlns="" id="{3019B39E-ED6F-4E10-A136-94F8EAAC0002}"/>
              </a:ext>
            </a:extLst>
          </p:cNvPr>
          <p:cNvSpPr/>
          <p:nvPr/>
        </p:nvSpPr>
        <p:spPr bwMode="gray">
          <a:xfrm>
            <a:off x="858862" y="4077071"/>
            <a:ext cx="2664296" cy="1369312"/>
          </a:xfrm>
          <a:prstGeom prst="homePlate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dirty="0">
                <a:solidFill>
                  <a:srgbClr val="3CA014"/>
                </a:solidFill>
              </a:rPr>
              <a:t>Amendment</a:t>
            </a:r>
            <a:endParaRPr lang="en-IN" sz="1800" dirty="0" err="1">
              <a:solidFill>
                <a:srgbClr val="3CA014"/>
              </a:solidFill>
            </a:endParaRPr>
          </a:p>
        </p:txBody>
      </p:sp>
      <p:pic>
        <p:nvPicPr>
          <p:cNvPr id="8" name="Picture 7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4130650697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Modes of generation of e-Invoice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B07EC2A-1F3E-4EA6-81CB-310CC57A496B}"/>
              </a:ext>
            </a:extLst>
          </p:cNvPr>
          <p:cNvSpPr/>
          <p:nvPr/>
        </p:nvSpPr>
        <p:spPr>
          <a:xfrm>
            <a:off x="408955" y="1340768"/>
            <a:ext cx="6696744" cy="3743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API based [directly from TP’s system to IRP, available for TP who’s TO &gt; INR 500 Crores]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23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API Based through GSP / ASP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23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Bulk Generation Offline Utility Tool or GST eInvoice Preparing &amp; Printing Tool [</a:t>
            </a:r>
            <a:r>
              <a:rPr lang="en-US" sz="2300" dirty="0" err="1">
                <a:solidFill>
                  <a:schemeClr val="bg1">
                    <a:lumMod val="50000"/>
                  </a:schemeClr>
                </a:solidFill>
              </a:rPr>
              <a:t>GePP</a:t>
            </a: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]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3AEDD46E-E7B9-4B3E-8E62-DB551F9B41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1695" y="2897483"/>
            <a:ext cx="4534525" cy="3178405"/>
          </a:xfrm>
          <a:prstGeom prst="rect">
            <a:avLst/>
          </a:prstGeom>
          <a:ln>
            <a:solidFill>
              <a:srgbClr val="EB690F"/>
            </a:solidFill>
          </a:ln>
        </p:spPr>
      </p:pic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2685083488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Dynamic QR Code for B2C Invoice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4665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RP who’s </a:t>
            </a:r>
            <a:r>
              <a:rPr lang="en-US" dirty="0">
                <a:solidFill>
                  <a:srgbClr val="EB690F"/>
                </a:solidFill>
              </a:rPr>
              <a:t>TO &gt; INR 500 Crore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andatory from 1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s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Dec 2020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+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 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Relaxatio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from the payment of penalty for the period of 1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s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Dec2020 to 31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s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Mar2021 if complied from 1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s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April 2021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++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Not required to uploaded to IRP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&amp; Shall be </a:t>
            </a:r>
            <a:r>
              <a:rPr lang="en-US" dirty="0">
                <a:solidFill>
                  <a:srgbClr val="EB690F"/>
                </a:solidFill>
              </a:rPr>
              <a:t>self generate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y the TP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oto to promote digital payment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 QR Code shall consist of 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STIN of the supplier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ame of the recipient 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voice number, given by the supplier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ate of invoice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voice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8A4B204-561C-4EF0-ADE1-A30F042F7194}"/>
              </a:ext>
            </a:extLst>
          </p:cNvPr>
          <p:cNvSpPr/>
          <p:nvPr/>
        </p:nvSpPr>
        <p:spPr>
          <a:xfrm>
            <a:off x="5377507" y="3857610"/>
            <a:ext cx="6096000" cy="15876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number of line items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SN Code of the main item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nique IRN</a:t>
            </a:r>
          </a:p>
          <a:p>
            <a:pPr marL="1714500" lvl="3" indent="-342900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EB690F"/>
                </a:solidFill>
              </a:rPr>
              <a:t>Cross reference of the payment</a:t>
            </a: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240520489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Implementation Challenge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4665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o an </a:t>
            </a:r>
            <a:r>
              <a:rPr lang="en-US" dirty="0">
                <a:solidFill>
                  <a:srgbClr val="EB690F"/>
                </a:solidFill>
              </a:rPr>
              <a:t>impact Analysis study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hoose the </a:t>
            </a:r>
            <a:r>
              <a:rPr lang="en-US" dirty="0">
                <a:solidFill>
                  <a:srgbClr val="EB690F"/>
                </a:solidFill>
              </a:rPr>
              <a:t>right mode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 handle e-Invoice 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Customization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f ERP / Accounting system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Check &amp; update Masters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like, Customer / Supplier, Material Master, GST Rate,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Validate the mandatory Field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nd format in which IRP accepts the data in line with e-Invoice Schema INV-01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Train the staff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, create an awareness [</a:t>
            </a:r>
            <a:r>
              <a:rPr lang="en-US" dirty="0">
                <a:solidFill>
                  <a:srgbClr val="EB690F"/>
                </a:solidFill>
              </a:rPr>
              <a:t>accuracy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is important]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sure </a:t>
            </a:r>
            <a:r>
              <a:rPr lang="en-US" dirty="0">
                <a:solidFill>
                  <a:srgbClr val="EB690F"/>
                </a:solidFill>
              </a:rPr>
              <a:t>supplier’s compliance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lse will lead to loss of ITC, take declaration, incorporate in </a:t>
            </a:r>
            <a:r>
              <a:rPr lang="en-US" dirty="0">
                <a:solidFill>
                  <a:srgbClr val="EB690F"/>
                </a:solidFill>
              </a:rPr>
              <a:t>Contract / PO / WO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EB690F"/>
                </a:solidFill>
              </a:rPr>
              <a:t>Store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RN / Acknowledgement No. / Acknowledgement Date for audit trail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tinuity of the </a:t>
            </a:r>
            <a:r>
              <a:rPr lang="en-US" dirty="0">
                <a:solidFill>
                  <a:srgbClr val="EB690F"/>
                </a:solidFill>
              </a:rPr>
              <a:t>Transactions on cut off date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[Goods sent on approval, Service provided not billed, goods not returned from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Jobwork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for more than 1-year, continuous supply of goods / services]</a:t>
            </a: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27954677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Common Error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465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2150 - </a:t>
            </a:r>
            <a:r>
              <a:rPr lang="en-IN" sz="2000" dirty="0">
                <a:solidFill>
                  <a:srgbClr val="EB690F"/>
                </a:solidFill>
              </a:rPr>
              <a:t>Duplicate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IRN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172 - For intra state transaction IGST amounts is not applicable </a:t>
            </a:r>
            <a:r>
              <a:rPr lang="en-US" sz="2000" dirty="0">
                <a:solidFill>
                  <a:srgbClr val="00732D"/>
                </a:solidFill>
              </a:rPr>
              <a:t>[</a:t>
            </a:r>
            <a:r>
              <a:rPr lang="en-IN" sz="2000" dirty="0" err="1">
                <a:solidFill>
                  <a:srgbClr val="00732D"/>
                </a:solidFill>
              </a:rPr>
              <a:t>GST_on_IntraState_Supply</a:t>
            </a:r>
            <a:r>
              <a:rPr lang="en-IN" sz="2000" dirty="0">
                <a:solidFill>
                  <a:srgbClr val="00732D"/>
                </a:solidFill>
              </a:rPr>
              <a:t>]</a:t>
            </a:r>
            <a:endParaRPr lang="en-US" sz="2000" dirty="0">
              <a:solidFill>
                <a:srgbClr val="00732D"/>
              </a:solidFill>
            </a:endParaRP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2176 - Invalid </a:t>
            </a:r>
            <a:r>
              <a:rPr lang="en-IN" sz="2000" dirty="0">
                <a:solidFill>
                  <a:srgbClr val="EB690F"/>
                </a:solidFill>
              </a:rPr>
              <a:t>HSN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code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182 - </a:t>
            </a:r>
            <a:r>
              <a:rPr lang="en-US" sz="2000" dirty="0">
                <a:solidFill>
                  <a:srgbClr val="EB690F"/>
                </a:solidFill>
              </a:rPr>
              <a:t>Taxabl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valu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of all items must be equal to total taxable value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2189 - </a:t>
            </a:r>
            <a:r>
              <a:rPr lang="en-IN" sz="2000" dirty="0">
                <a:solidFill>
                  <a:srgbClr val="EB690F"/>
                </a:solidFill>
              </a:rPr>
              <a:t>Invalid total Invoice Value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IN" sz="2000" dirty="0">
                <a:solidFill>
                  <a:srgbClr val="00732D"/>
                </a:solidFill>
              </a:rPr>
              <a:t>[total of all line items + other charges – discount] +/- One]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193 - </a:t>
            </a:r>
            <a:r>
              <a:rPr lang="en-US" sz="2000" dirty="0" err="1">
                <a:solidFill>
                  <a:srgbClr val="EB690F"/>
                </a:solidFill>
              </a:rPr>
              <a:t>AssAm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value should be equal to (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TotAm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- Discount) for HSN - {0} and Sl. No {1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194 - </a:t>
            </a:r>
            <a:r>
              <a:rPr lang="en-US" sz="2000" dirty="0">
                <a:solidFill>
                  <a:srgbClr val="EB690F"/>
                </a:solidFill>
              </a:rPr>
              <a:t>Invalid total item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value for HSN - {0} and Sl. No {1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11 - Supplier and recipient </a:t>
            </a:r>
            <a:r>
              <a:rPr lang="en-US" sz="2000" dirty="0">
                <a:solidFill>
                  <a:srgbClr val="EB690F"/>
                </a:solidFill>
              </a:rPr>
              <a:t>GSTI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should not be the </a:t>
            </a:r>
            <a:r>
              <a:rPr lang="en-US" sz="2000" dirty="0">
                <a:solidFill>
                  <a:srgbClr val="EB690F"/>
                </a:solidFill>
              </a:rPr>
              <a:t>same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12 - The recipient GSTIN cannot be </a:t>
            </a:r>
            <a:r>
              <a:rPr lang="en-US" sz="2000" dirty="0">
                <a:solidFill>
                  <a:srgbClr val="EB690F"/>
                </a:solidFill>
              </a:rPr>
              <a:t>URP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supply type {0}</a:t>
            </a: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3866793285"/>
      </p:ext>
    </p:extLst>
  </p:cSld>
  <p:clrMapOvr>
    <a:masterClrMapping/>
  </p:clrMapOvr>
  <p:transition spd="slow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Common Error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5113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27 - </a:t>
            </a:r>
            <a:r>
              <a:rPr lang="en-US" sz="2000" dirty="0">
                <a:solidFill>
                  <a:srgbClr val="EB690F"/>
                </a:solidFill>
              </a:rPr>
              <a:t>S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en-US" sz="2000" dirty="0">
                <a:solidFill>
                  <a:srgbClr val="EB690F"/>
                </a:solidFill>
              </a:rPr>
              <a:t>C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Amounts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should be </a:t>
            </a:r>
            <a:r>
              <a:rPr lang="en-US" sz="2000" dirty="0">
                <a:solidFill>
                  <a:srgbClr val="EB690F"/>
                </a:solidFill>
              </a:rPr>
              <a:t>equal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HSN - {0} and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an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Sl. No {1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33 - </a:t>
            </a:r>
            <a:r>
              <a:rPr lang="en-US" sz="2000" dirty="0">
                <a:solidFill>
                  <a:srgbClr val="EB690F"/>
                </a:solidFill>
              </a:rPr>
              <a:t>Duplica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Serial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number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are not allowed in items level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34 - </a:t>
            </a:r>
            <a:r>
              <a:rPr lang="en-US" sz="2000" dirty="0">
                <a:solidFill>
                  <a:srgbClr val="EB690F"/>
                </a:solidFill>
              </a:rPr>
              <a:t>Invali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S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en-US" sz="2000" dirty="0">
                <a:solidFill>
                  <a:srgbClr val="EB690F"/>
                </a:solidFill>
              </a:rPr>
              <a:t>C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Amounts for HSN - {0} and Sl. No {1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35 - </a:t>
            </a:r>
            <a:r>
              <a:rPr lang="en-US" sz="2000" dirty="0">
                <a:solidFill>
                  <a:srgbClr val="EB690F"/>
                </a:solidFill>
              </a:rPr>
              <a:t>I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amoun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given with HSN -{0} and Sl. No {1} is Invalid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40 - Invalid </a:t>
            </a:r>
            <a:r>
              <a:rPr lang="en-US" sz="2000" dirty="0">
                <a:solidFill>
                  <a:srgbClr val="EB690F"/>
                </a:solidFill>
              </a:rPr>
              <a:t>G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ra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HSN -{0} and Sl. No {1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44 - </a:t>
            </a:r>
            <a:r>
              <a:rPr lang="en-US" sz="2000" dirty="0">
                <a:solidFill>
                  <a:srgbClr val="EB690F"/>
                </a:solidFill>
              </a:rPr>
              <a:t>Recipien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err="1">
                <a:solidFill>
                  <a:srgbClr val="EB690F"/>
                </a:solidFill>
              </a:rPr>
              <a:t>pincod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is mandatory for transaction -{0}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65 - </a:t>
            </a:r>
            <a:r>
              <a:rPr lang="en-US" sz="2000" dirty="0">
                <a:solidFill>
                  <a:srgbClr val="EB690F"/>
                </a:solidFill>
              </a:rPr>
              <a:t>Recipien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GSTI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sta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cod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should be same as the sate code passed in recipient details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2275 - Recipient PIN code should be </a:t>
            </a:r>
            <a:r>
              <a:rPr lang="en-US" sz="2000" dirty="0">
                <a:solidFill>
                  <a:srgbClr val="EB690F"/>
                </a:solidFill>
              </a:rPr>
              <a:t>999999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</a:t>
            </a:r>
            <a:r>
              <a:rPr lang="en-US" sz="2000" dirty="0">
                <a:solidFill>
                  <a:srgbClr val="EB690F"/>
                </a:solidFill>
              </a:rPr>
              <a:t>direc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export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3028 - </a:t>
            </a:r>
            <a:r>
              <a:rPr lang="en-US" sz="2000" dirty="0">
                <a:solidFill>
                  <a:srgbClr val="EB690F"/>
                </a:solidFill>
              </a:rPr>
              <a:t>GSTI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is </a:t>
            </a:r>
            <a:r>
              <a:rPr lang="en-US" sz="2000" dirty="0">
                <a:solidFill>
                  <a:srgbClr val="EB690F"/>
                </a:solidFill>
              </a:rPr>
              <a:t>no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presen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in invoice system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3029 - </a:t>
            </a:r>
            <a:r>
              <a:rPr lang="en-IN" sz="2000" dirty="0">
                <a:solidFill>
                  <a:srgbClr val="EB690F"/>
                </a:solidFill>
              </a:rPr>
              <a:t>GSTIN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is </a:t>
            </a:r>
            <a:r>
              <a:rPr lang="en-IN" sz="2000" dirty="0">
                <a:solidFill>
                  <a:srgbClr val="EB690F"/>
                </a:solidFill>
              </a:rPr>
              <a:t>not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IN" sz="2000" dirty="0">
                <a:solidFill>
                  <a:srgbClr val="EB690F"/>
                </a:solidFill>
              </a:rPr>
              <a:t>active</a:t>
            </a:r>
            <a:endParaRPr lang="en-US" sz="2000" dirty="0">
              <a:solidFill>
                <a:srgbClr val="EB690F"/>
              </a:solidFill>
            </a:endParaRP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401061048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2363787" y="3606552"/>
            <a:ext cx="8229600" cy="432048"/>
          </a:xfrm>
          <a:prstGeom prst="rect">
            <a:avLst/>
          </a:prstGeom>
        </p:spPr>
        <p:txBody>
          <a:bodyPr/>
          <a:lstStyle/>
          <a:p>
            <a:pPr marL="0" indent="0" algn="ctr">
              <a:spcBef>
                <a:spcPct val="20000"/>
              </a:spcBef>
              <a:spcAft>
                <a:spcPts val="0"/>
              </a:spcAft>
              <a:buClr>
                <a:schemeClr val="tx1">
                  <a:shade val="95000"/>
                </a:schemeClr>
              </a:buClr>
              <a:buSzPct val="65000"/>
              <a:buNone/>
              <a:defRPr/>
            </a:pPr>
            <a:r>
              <a:rPr lang="en-US" altLang="ko-KR" sz="9600" b="1" dirty="0">
                <a:solidFill>
                  <a:srgbClr val="002060"/>
                </a:solidFill>
                <a:latin typeface="Aparajita" pitchFamily="34" charset="0"/>
                <a:cs typeface="Aparajita" pitchFamily="34" charset="0"/>
              </a:rPr>
              <a:t>THANKS!!</a:t>
            </a: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5638800"/>
            <a:ext cx="121951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Bell MT" pitchFamily="18" charset="0"/>
                <a:ea typeface="Calibri" pitchFamily="34" charset="0"/>
                <a:cs typeface="Times New Roman" pitchFamily="18" charset="0"/>
              </a:rPr>
              <a:t>Behind Every Successful Business Decision, There Is Always A </a:t>
            </a:r>
            <a:r>
              <a:rPr kumimoji="0" lang="en-US" sz="28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Bell MT" pitchFamily="18" charset="0"/>
                <a:ea typeface="Calibri" pitchFamily="34" charset="0"/>
                <a:cs typeface="Times New Roman" pitchFamily="18" charset="0"/>
              </a:rPr>
              <a:t>CMA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87987" y="457200"/>
            <a:ext cx="1219200" cy="198120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263393087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Overview</a:t>
            </a:r>
            <a:endParaRPr lang="en-US" sz="2800" b="1" dirty="0">
              <a:solidFill>
                <a:srgbClr val="63B343"/>
              </a:solidFill>
            </a:endParaRP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Invoic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408955" y="1340768"/>
            <a:ext cx="11089232" cy="3743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eInvoice means :-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>
                <a:solidFill>
                  <a:srgbClr val="EB690F"/>
                </a:solidFill>
              </a:rPr>
              <a:t>Notified </a:t>
            </a: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Registered Person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>
                <a:solidFill>
                  <a:srgbClr val="EB690F"/>
                </a:solidFill>
              </a:rPr>
              <a:t>Reporting </a:t>
            </a:r>
            <a:r>
              <a:rPr lang="en-US" sz="2300" dirty="0">
                <a:solidFill>
                  <a:schemeClr val="bg1">
                    <a:lumMod val="50000"/>
                  </a:schemeClr>
                </a:solidFill>
              </a:rPr>
              <a:t>details of specified GST documents (i.e., Invoice, Debit / Credit note) 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to a Government-notified portal </a:t>
            </a:r>
            <a:r>
              <a:rPr lang="en-IN" sz="2300" dirty="0">
                <a:solidFill>
                  <a:srgbClr val="EB690F"/>
                </a:solidFill>
              </a:rPr>
              <a:t>(IRP) 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in a particular form GST INV-01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>
                <a:solidFill>
                  <a:srgbClr val="EB690F"/>
                </a:solidFill>
              </a:rPr>
              <a:t>Obtaining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 an Invoice Reference Number (</a:t>
            </a:r>
            <a:r>
              <a:rPr lang="en-IN" sz="2300" dirty="0">
                <a:solidFill>
                  <a:srgbClr val="EB690F"/>
                </a:solidFill>
              </a:rPr>
              <a:t>IRN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) &amp; digitally signed digital stream of </a:t>
            </a:r>
            <a:r>
              <a:rPr lang="en-IN" sz="2300" dirty="0">
                <a:solidFill>
                  <a:srgbClr val="EB690F"/>
                </a:solidFill>
              </a:rPr>
              <a:t>QR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 code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>
                <a:solidFill>
                  <a:srgbClr val="EB690F"/>
                </a:solidFill>
              </a:rPr>
              <a:t>Issue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 Tax Invoice / DN / CN with </a:t>
            </a:r>
            <a:r>
              <a:rPr lang="en-IN" sz="2300" dirty="0">
                <a:solidFill>
                  <a:srgbClr val="EB690F"/>
                </a:solidFill>
              </a:rPr>
              <a:t>QR code</a:t>
            </a:r>
            <a:r>
              <a:rPr lang="en-IN" sz="2300" baseline="30000" dirty="0">
                <a:solidFill>
                  <a:srgbClr val="EB690F"/>
                </a:solidFill>
              </a:rPr>
              <a:t>+</a:t>
            </a:r>
            <a:r>
              <a:rPr lang="en-IN" sz="2300" dirty="0">
                <a:solidFill>
                  <a:srgbClr val="EB690F"/>
                </a:solidFill>
              </a:rPr>
              <a:t> </a:t>
            </a:r>
            <a:r>
              <a:rPr lang="en-IN" sz="2300" dirty="0">
                <a:solidFill>
                  <a:schemeClr val="bg1">
                    <a:lumMod val="50000"/>
                  </a:schemeClr>
                </a:solidFill>
              </a:rPr>
              <a:t>on Tax Invoice</a:t>
            </a:r>
            <a:endParaRPr lang="en-US" sz="23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55387" y="228600"/>
            <a:ext cx="609600" cy="11430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978528993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Applicability</a:t>
            </a:r>
            <a:endParaRPr lang="en-US" sz="2800" b="1" dirty="0">
              <a:solidFill>
                <a:srgbClr val="63B343"/>
              </a:solidFill>
            </a:endParaRP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Invoic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408955" y="1196752"/>
            <a:ext cx="11089232" cy="3132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3000"/>
              </a:lnSpc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Applicability :-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Notified Registered Person [Sec. 2(94) </a:t>
            </a:r>
            <a:r>
              <a:rPr lang="en-US" sz="2000" dirty="0">
                <a:solidFill>
                  <a:srgbClr val="EB690F"/>
                </a:solidFill>
              </a:rPr>
              <a:t>Reg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en-US" sz="2000" dirty="0">
                <a:solidFill>
                  <a:srgbClr val="EB690F"/>
                </a:solidFill>
              </a:rPr>
              <a:t>u/s 25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but </a:t>
            </a:r>
            <a:r>
              <a:rPr lang="en-US" sz="2000" dirty="0">
                <a:solidFill>
                  <a:srgbClr val="EB690F"/>
                </a:solidFill>
              </a:rPr>
              <a:t>no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include a person having </a:t>
            </a:r>
            <a:r>
              <a:rPr lang="en-US" sz="2000" dirty="0">
                <a:solidFill>
                  <a:srgbClr val="EB690F"/>
                </a:solidFill>
              </a:rPr>
              <a:t>UI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]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Whose </a:t>
            </a:r>
            <a:r>
              <a:rPr lang="en-US" sz="2000" dirty="0">
                <a:solidFill>
                  <a:srgbClr val="EB690F"/>
                </a:solidFill>
              </a:rPr>
              <a:t>Turnover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[any preceding financial year from 2017-18 onwards]</a:t>
            </a:r>
          </a:p>
          <a:p>
            <a:pPr marL="1257300" lvl="2" indent="-342900" algn="just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&gt; </a:t>
            </a:r>
            <a:r>
              <a:rPr lang="en-US" sz="2000" dirty="0">
                <a:solidFill>
                  <a:srgbClr val="EB690F"/>
                </a:solidFill>
              </a:rPr>
              <a:t>INR 500 Crores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 1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Oct 2020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+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 [for Oct20 invoice shall be uploaded within 30 days – No Penalty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+++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]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marL="1257300" lvl="2" indent="-342900" algn="just">
              <a:lnSpc>
                <a:spcPts val="3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&gt; </a:t>
            </a:r>
            <a:r>
              <a:rPr lang="en-US" sz="2000" dirty="0">
                <a:solidFill>
                  <a:srgbClr val="EB690F"/>
                </a:solidFill>
              </a:rPr>
              <a:t>INR 100 Crores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 1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Jan 2021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++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Require to </a:t>
            </a: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report all B2B + export / deemed export transactions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  <a:sym typeface="Wingdings" panose="05000000000000000000" pitchFamily="2" charset="2"/>
              </a:rPr>
              <a:t>B2C transactions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[only RP who's TO &gt; 500 Crores, mandatory from 1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Dec 2020]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A904DD9-B816-4339-89DB-DBB9EEA29024}"/>
              </a:ext>
            </a:extLst>
          </p:cNvPr>
          <p:cNvSpPr/>
          <p:nvPr/>
        </p:nvSpPr>
        <p:spPr>
          <a:xfrm>
            <a:off x="528513" y="4649952"/>
            <a:ext cx="11138148" cy="1443344"/>
          </a:xfrm>
          <a:prstGeom prst="rect">
            <a:avLst/>
          </a:prstGeom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txBody>
          <a:bodyPr wrap="square">
            <a:spAutoFit/>
          </a:bodyPr>
          <a:lstStyle/>
          <a:p>
            <a:pPr algn="just">
              <a:lnSpc>
                <a:spcPts val="2700"/>
              </a:lnSpc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ec. 2(6) - “</a:t>
            </a:r>
            <a:r>
              <a:rPr lang="en-US" b="1" dirty="0">
                <a:solidFill>
                  <a:srgbClr val="EB690F"/>
                </a:solidFill>
              </a:rPr>
              <a:t>aggregate turnover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”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ans the </a:t>
            </a:r>
            <a:r>
              <a:rPr lang="en-US" b="1" dirty="0">
                <a:solidFill>
                  <a:srgbClr val="EB690F"/>
                </a:solidFill>
              </a:rPr>
              <a:t>aggregate value of all taxable suppli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(excluding the value of inward supplies on which tax is payable by a person on reverse charge basis), </a:t>
            </a:r>
            <a:r>
              <a:rPr lang="en-US" b="1" dirty="0">
                <a:solidFill>
                  <a:srgbClr val="EB690F"/>
                </a:solidFill>
              </a:rPr>
              <a:t>exempt supplies</a:t>
            </a:r>
            <a:r>
              <a:rPr lang="en-US" dirty="0">
                <a:solidFill>
                  <a:srgbClr val="EB690F"/>
                </a:solidFill>
              </a:rPr>
              <a:t>, </a:t>
            </a:r>
            <a:r>
              <a:rPr lang="en-US" b="1" dirty="0">
                <a:solidFill>
                  <a:srgbClr val="EB690F"/>
                </a:solidFill>
              </a:rPr>
              <a:t>exports of goods </a:t>
            </a:r>
            <a:r>
              <a:rPr lang="en-US" dirty="0">
                <a:solidFill>
                  <a:srgbClr val="EB690F"/>
                </a:solidFill>
              </a:rPr>
              <a:t>or </a:t>
            </a:r>
            <a:r>
              <a:rPr lang="en-US" b="1" dirty="0">
                <a:solidFill>
                  <a:srgbClr val="EB690F"/>
                </a:solidFill>
              </a:rPr>
              <a:t>servic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r both and inter-State supplies of persons </a:t>
            </a:r>
            <a:r>
              <a:rPr lang="en-US" b="1" dirty="0">
                <a:solidFill>
                  <a:srgbClr val="EB690F"/>
                </a:solidFill>
              </a:rPr>
              <a:t>having the same PAN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, to be </a:t>
            </a:r>
            <a:r>
              <a:rPr lang="en-US" b="1" dirty="0">
                <a:solidFill>
                  <a:srgbClr val="EB690F"/>
                </a:solidFill>
              </a:rPr>
              <a:t>computed on all India basi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ut excl. CGST/SGST/IGST &amp;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cess</a:t>
            </a:r>
            <a:endParaRPr lang="en-IN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55387" y="228600"/>
            <a:ext cx="609600" cy="11430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924030068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Process Flow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408955" y="1242852"/>
            <a:ext cx="11387833" cy="5468858"/>
            <a:chOff x="408955" y="1242852"/>
            <a:chExt cx="11387833" cy="5468858"/>
          </a:xfrm>
        </p:grpSpPr>
        <p:sp>
          <p:nvSpPr>
            <p:cNvPr id="3" name="Rounded Rectangle 2"/>
            <p:cNvSpPr/>
            <p:nvPr/>
          </p:nvSpPr>
          <p:spPr bwMode="gray">
            <a:xfrm>
              <a:off x="841002" y="1242852"/>
              <a:ext cx="2868801" cy="576064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Registered Person</a:t>
              </a:r>
            </a:p>
          </p:txBody>
        </p:sp>
        <p:sp>
          <p:nvSpPr>
            <p:cNvPr id="8" name="Rounded Rectangle 7"/>
            <p:cNvSpPr/>
            <p:nvPr/>
          </p:nvSpPr>
          <p:spPr bwMode="gray">
            <a:xfrm>
              <a:off x="4513412" y="1242852"/>
              <a:ext cx="3576463" cy="576064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Invoice Registration Portal (IRP) (Govt. Portal)</a:t>
              </a:r>
            </a:p>
          </p:txBody>
        </p:sp>
        <p:sp>
          <p:nvSpPr>
            <p:cNvPr id="16" name="Rounded Rectangle 15"/>
            <p:cNvSpPr/>
            <p:nvPr/>
          </p:nvSpPr>
          <p:spPr bwMode="gray">
            <a:xfrm>
              <a:off x="8556788" y="1242852"/>
              <a:ext cx="3240000" cy="576064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GSTN System (Govt. Portal)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408955" y="1916832"/>
              <a:ext cx="11387833" cy="4794878"/>
              <a:chOff x="408955" y="1916832"/>
              <a:chExt cx="11387833" cy="4794878"/>
            </a:xfrm>
          </p:grpSpPr>
          <p:sp>
            <p:nvSpPr>
              <p:cNvPr id="31" name="Right Arrow 30"/>
              <p:cNvSpPr/>
              <p:nvPr/>
            </p:nvSpPr>
            <p:spPr bwMode="gray">
              <a:xfrm rot="10800000">
                <a:off x="3709805" y="5278556"/>
                <a:ext cx="996800" cy="549360"/>
              </a:xfrm>
              <a:prstGeom prst="rightArrow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>
                  <a:solidFill>
                    <a:srgbClr val="00732D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 bwMode="gray">
              <a:xfrm>
                <a:off x="420627" y="1916832"/>
                <a:ext cx="564392" cy="504056"/>
              </a:xfrm>
              <a:prstGeom prst="ellipse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  <p:sp>
            <p:nvSpPr>
              <p:cNvPr id="9" name="Right Arrow 8"/>
              <p:cNvSpPr/>
              <p:nvPr/>
            </p:nvSpPr>
            <p:spPr bwMode="gray">
              <a:xfrm>
                <a:off x="3463771" y="2841322"/>
                <a:ext cx="996800" cy="549360"/>
              </a:xfrm>
              <a:prstGeom prst="rightArrow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>
                  <a:solidFill>
                    <a:srgbClr val="00732D"/>
                  </a:solidFill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gray">
              <a:xfrm>
                <a:off x="841003" y="1999878"/>
                <a:ext cx="2868802" cy="2232248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Generation of Invoice at ERP / SAP / Accounting System / Bulk generation utility tool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Convert invoice details in to </a:t>
                </a:r>
                <a:r>
                  <a:rPr lang="en-US" sz="2000" b="1" dirty="0">
                    <a:solidFill>
                      <a:srgbClr val="00732D"/>
                    </a:solidFill>
                  </a:rPr>
                  <a:t>JSON format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Upload the JSON to IRP</a:t>
                </a:r>
              </a:p>
            </p:txBody>
          </p:sp>
          <p:sp>
            <p:nvSpPr>
              <p:cNvPr id="20" name="Oval 19"/>
              <p:cNvSpPr/>
              <p:nvPr/>
            </p:nvSpPr>
            <p:spPr bwMode="gray">
              <a:xfrm>
                <a:off x="4153371" y="1916832"/>
                <a:ext cx="564392" cy="504056"/>
              </a:xfrm>
              <a:prstGeom prst="ellipse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  <p:sp>
            <p:nvSpPr>
              <p:cNvPr id="18" name="Rounded Rectangle 17"/>
              <p:cNvSpPr/>
              <p:nvPr/>
            </p:nvSpPr>
            <p:spPr bwMode="gray">
              <a:xfrm>
                <a:off x="4513412" y="1999878"/>
                <a:ext cx="3576466" cy="2232248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52000" indent="-182563">
                  <a:lnSpc>
                    <a:spcPts val="264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Duplication check with GSTN</a:t>
                </a:r>
              </a:p>
              <a:p>
                <a:pPr marL="252000" indent="-182563">
                  <a:lnSpc>
                    <a:spcPts val="264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Generate &amp; Validate Hash no. for IRN</a:t>
                </a:r>
              </a:p>
              <a:p>
                <a:pPr marL="252000" indent="-182563">
                  <a:lnSpc>
                    <a:spcPts val="264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Add digital signature</a:t>
                </a:r>
              </a:p>
              <a:p>
                <a:pPr marL="252000" indent="-182563">
                  <a:lnSpc>
                    <a:spcPts val="264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2000" b="1" dirty="0">
                    <a:solidFill>
                      <a:srgbClr val="00732D"/>
                    </a:solidFill>
                  </a:rPr>
                  <a:t>Add Digital stream of QR Code</a:t>
                </a:r>
              </a:p>
            </p:txBody>
          </p:sp>
          <p:sp>
            <p:nvSpPr>
              <p:cNvPr id="23" name="Oval 22"/>
              <p:cNvSpPr/>
              <p:nvPr/>
            </p:nvSpPr>
            <p:spPr bwMode="gray">
              <a:xfrm>
                <a:off x="8197491" y="1916832"/>
                <a:ext cx="564392" cy="504056"/>
              </a:xfrm>
              <a:prstGeom prst="ellipse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chemeClr val="bg1"/>
                    </a:solidFill>
                  </a:rPr>
                  <a:t>2</a:t>
                </a:r>
                <a:r>
                  <a:rPr lang="en-US" sz="1400" dirty="0">
                    <a:solidFill>
                      <a:schemeClr val="bg1"/>
                    </a:solidFill>
                  </a:rPr>
                  <a:t>a</a:t>
                </a:r>
              </a:p>
            </p:txBody>
          </p:sp>
          <p:sp>
            <p:nvSpPr>
              <p:cNvPr id="24" name="Rounded Rectangle 23"/>
              <p:cNvSpPr/>
              <p:nvPr/>
            </p:nvSpPr>
            <p:spPr bwMode="gray">
              <a:xfrm>
                <a:off x="8556788" y="1958354"/>
                <a:ext cx="3240000" cy="3054822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Hash stored in GST system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De-duplication checked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endParaRPr lang="en-US" sz="1600" dirty="0">
                  <a:solidFill>
                    <a:srgbClr val="00732D"/>
                  </a:solidFill>
                </a:endParaRP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Data updated at e-way Bill System [PART-A] 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endParaRPr lang="en-US" sz="1600" dirty="0">
                  <a:solidFill>
                    <a:srgbClr val="00732D"/>
                  </a:solidFill>
                </a:endParaRP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Updation of GST return data</a:t>
                </a:r>
              </a:p>
              <a:p>
                <a:pPr marL="355600" lvl="1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GSTR1 updated for seller</a:t>
                </a:r>
              </a:p>
              <a:p>
                <a:pPr marL="355600" lvl="1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GSTR2A / 2B updated for buyer</a:t>
                </a:r>
              </a:p>
            </p:txBody>
          </p:sp>
          <p:sp>
            <p:nvSpPr>
              <p:cNvPr id="26" name="Oval 25"/>
              <p:cNvSpPr/>
              <p:nvPr/>
            </p:nvSpPr>
            <p:spPr bwMode="gray">
              <a:xfrm>
                <a:off x="4153370" y="4396416"/>
                <a:ext cx="578832" cy="504056"/>
              </a:xfrm>
              <a:prstGeom prst="ellipse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  <p:sp>
            <p:nvSpPr>
              <p:cNvPr id="27" name="Rounded Rectangle 26"/>
              <p:cNvSpPr/>
              <p:nvPr/>
            </p:nvSpPr>
            <p:spPr bwMode="gray">
              <a:xfrm>
                <a:off x="4518937" y="4479462"/>
                <a:ext cx="3570938" cy="2232248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Return digitally signed JSON to RP with IRN (in Hash)</a:t>
                </a: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endParaRPr lang="en-US" sz="1600" dirty="0">
                  <a:solidFill>
                    <a:srgbClr val="00732D"/>
                  </a:solidFill>
                </a:endParaRPr>
              </a:p>
              <a:p>
                <a:pPr marL="182563" indent="-182563">
                  <a:lnSpc>
                    <a:spcPts val="24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QR Code included in JSON (in digital stream)</a:t>
                </a:r>
              </a:p>
            </p:txBody>
          </p:sp>
          <p:sp>
            <p:nvSpPr>
              <p:cNvPr id="29" name="Oval 28"/>
              <p:cNvSpPr/>
              <p:nvPr/>
            </p:nvSpPr>
            <p:spPr bwMode="gray">
              <a:xfrm>
                <a:off x="408955" y="4293096"/>
                <a:ext cx="564392" cy="504056"/>
              </a:xfrm>
              <a:prstGeom prst="ellipse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  <p:sp>
            <p:nvSpPr>
              <p:cNvPr id="30" name="Rounded Rectangle 29"/>
              <p:cNvSpPr/>
              <p:nvPr/>
            </p:nvSpPr>
            <p:spPr bwMode="gray">
              <a:xfrm>
                <a:off x="841003" y="4437112"/>
                <a:ext cx="2869200" cy="2232248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2563" indent="-182563"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srgbClr val="00732D"/>
                    </a:solidFill>
                  </a:rPr>
                  <a:t>Has to </a:t>
                </a:r>
                <a:r>
                  <a:rPr lang="en-US" sz="1600" b="1" dirty="0">
                    <a:solidFill>
                      <a:srgbClr val="00732D"/>
                    </a:solidFill>
                  </a:rPr>
                  <a:t>store IRN </a:t>
                </a:r>
                <a:r>
                  <a:rPr lang="en-US" sz="1600" dirty="0">
                    <a:solidFill>
                      <a:srgbClr val="00732D"/>
                    </a:solidFill>
                  </a:rPr>
                  <a:t>(in HASH form)</a:t>
                </a:r>
              </a:p>
              <a:p>
                <a:pPr marL="182563" indent="-182563"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endParaRPr lang="en-US" sz="1600" dirty="0">
                  <a:solidFill>
                    <a:srgbClr val="00732D"/>
                  </a:solidFill>
                </a:endParaRPr>
              </a:p>
              <a:p>
                <a:pPr marL="182563" indent="-182563"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b="1" dirty="0">
                    <a:solidFill>
                      <a:srgbClr val="00732D"/>
                    </a:solidFill>
                  </a:rPr>
                  <a:t>Convert </a:t>
                </a:r>
                <a:r>
                  <a:rPr lang="en-US" sz="1600" dirty="0">
                    <a:solidFill>
                      <a:srgbClr val="00732D"/>
                    </a:solidFill>
                  </a:rPr>
                  <a:t>digital stream of QR Code into </a:t>
                </a:r>
                <a:r>
                  <a:rPr lang="en-US" sz="1600" b="1" dirty="0">
                    <a:solidFill>
                      <a:srgbClr val="00732D"/>
                    </a:solidFill>
                  </a:rPr>
                  <a:t>QR Code </a:t>
                </a:r>
              </a:p>
              <a:p>
                <a:pPr marL="182563" indent="-182563"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endParaRPr lang="en-US" sz="1600" b="1" dirty="0">
                  <a:solidFill>
                    <a:srgbClr val="00732D"/>
                  </a:solidFill>
                </a:endParaRPr>
              </a:p>
              <a:p>
                <a:pPr marL="182563" indent="-182563"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lang="en-US" sz="1600" b="1" dirty="0">
                    <a:solidFill>
                      <a:srgbClr val="00732D"/>
                    </a:solidFill>
                  </a:rPr>
                  <a:t>Print IRN &amp; QR Code </a:t>
                </a:r>
                <a:r>
                  <a:rPr lang="en-US" sz="1600" dirty="0">
                    <a:solidFill>
                      <a:srgbClr val="00732D"/>
                    </a:solidFill>
                  </a:rPr>
                  <a:t>in the invoice</a:t>
                </a:r>
              </a:p>
            </p:txBody>
          </p:sp>
        </p:grpSp>
      </p:grpSp>
      <p:sp>
        <p:nvSpPr>
          <p:cNvPr id="22" name="Rounded Rectangle 21"/>
          <p:cNvSpPr/>
          <p:nvPr/>
        </p:nvSpPr>
        <p:spPr bwMode="gray">
          <a:xfrm>
            <a:off x="4176713" y="1129716"/>
            <a:ext cx="4081114" cy="5683660"/>
          </a:xfrm>
          <a:prstGeom prst="roundRect">
            <a:avLst/>
          </a:prstGeom>
          <a:noFill/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25" name="Picture 2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3595927104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b="1" dirty="0">
                <a:solidFill>
                  <a:srgbClr val="63B343"/>
                </a:solidFill>
              </a:rPr>
              <a:t>IRN &amp; QR Code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/>
          <p:cNvSpPr/>
          <p:nvPr/>
        </p:nvSpPr>
        <p:spPr>
          <a:xfrm>
            <a:off x="470211" y="1412771"/>
            <a:ext cx="4752528" cy="212365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00732D"/>
                </a:solidFill>
              </a:rPr>
              <a:t>4 Parameters to generate IRN </a:t>
            </a:r>
            <a:endParaRPr lang="en-US" sz="2200" dirty="0">
              <a:solidFill>
                <a:srgbClr val="00732D"/>
              </a:solidFill>
            </a:endParaRPr>
          </a:p>
          <a:p>
            <a:endParaRPr lang="en-US" sz="2200" dirty="0">
              <a:solidFill>
                <a:srgbClr val="000000"/>
              </a:solidFill>
            </a:endParaRP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1.Supplier 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GSTIN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2.Supplier’s 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invoice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number 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3.Document 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Type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(INV/CRN/DBN)</a:t>
            </a:r>
          </a:p>
          <a:p>
            <a:pPr>
              <a:lnSpc>
                <a:spcPts val="2640"/>
              </a:lnSpc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4.Financial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year (YYYY-YY)</a:t>
            </a:r>
          </a:p>
        </p:txBody>
      </p:sp>
      <p:sp>
        <p:nvSpPr>
          <p:cNvPr id="4" name="Rectangle 3"/>
          <p:cNvSpPr/>
          <p:nvPr/>
        </p:nvSpPr>
        <p:spPr>
          <a:xfrm>
            <a:off x="5474195" y="1412771"/>
            <a:ext cx="6096000" cy="3816429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r>
              <a:rPr lang="en-US" sz="2200" b="1" dirty="0">
                <a:solidFill>
                  <a:srgbClr val="00732D"/>
                </a:solidFill>
              </a:rPr>
              <a:t>8 Parameters to generate a QR Code</a:t>
            </a:r>
          </a:p>
          <a:p>
            <a:endParaRPr lang="en-US" sz="2200" dirty="0">
              <a:solidFill>
                <a:srgbClr val="000000"/>
              </a:solidFill>
            </a:endParaRPr>
          </a:p>
          <a:p>
            <a:pPr>
              <a:lnSpc>
                <a:spcPts val="2640"/>
              </a:lnSpc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1.GSTIN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of Supplier </a:t>
            </a:r>
          </a:p>
          <a:p>
            <a:pPr>
              <a:lnSpc>
                <a:spcPts val="2640"/>
              </a:lnSpc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2.GSTIN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of Recipient </a:t>
            </a:r>
          </a:p>
          <a:p>
            <a:pPr>
              <a:lnSpc>
                <a:spcPts val="2640"/>
              </a:lnSpc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3.Invoice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number as given by Supplier </a:t>
            </a:r>
          </a:p>
          <a:p>
            <a:pPr>
              <a:lnSpc>
                <a:spcPts val="2640"/>
              </a:lnSpc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4.Date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of generation of invoice 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5.Invoice 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value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(taxable value and gross tax) 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6.Number of 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line items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7.</a:t>
            </a:r>
            <a:r>
              <a:rPr lang="en-US" sz="2200" b="1" dirty="0">
                <a:solidFill>
                  <a:schemeClr val="bg1">
                    <a:lumMod val="50000"/>
                  </a:schemeClr>
                </a:solidFill>
              </a:rPr>
              <a:t>HSN Code 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of main item (the line item having highest taxable value)</a:t>
            </a:r>
          </a:p>
          <a:p>
            <a:pPr>
              <a:lnSpc>
                <a:spcPts val="2640"/>
              </a:lnSpc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8.Unique Invoice Reference Number (hash)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5D1A8152-5E94-4F82-91CE-5FF4D003D87B}"/>
              </a:ext>
            </a:extLst>
          </p:cNvPr>
          <p:cNvSpPr/>
          <p:nvPr/>
        </p:nvSpPr>
        <p:spPr>
          <a:xfrm>
            <a:off x="386462" y="3884855"/>
            <a:ext cx="47525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chemeClr val="bg1">
                    <a:lumMod val="50000"/>
                  </a:schemeClr>
                </a:solidFill>
              </a:rPr>
              <a:t>64-digit hash number :-</a:t>
            </a:r>
          </a:p>
          <a:p>
            <a:r>
              <a:rPr lang="en-US" u="sng" dirty="0">
                <a:solidFill>
                  <a:srgbClr val="EB690F"/>
                </a:solidFill>
              </a:rPr>
              <a:t> </a:t>
            </a:r>
            <a:r>
              <a:rPr lang="en-US" dirty="0">
                <a:solidFill>
                  <a:srgbClr val="EB690F"/>
                </a:solidFill>
              </a:rPr>
              <a:t>d2334e4d936218e1cbb5f99768b4268af4aeb9ba109d2ab12c2e2bb32f64eff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6BFADF5-E74C-4537-A65A-6492A5170926}"/>
              </a:ext>
            </a:extLst>
          </p:cNvPr>
          <p:cNvSpPr/>
          <p:nvPr/>
        </p:nvSpPr>
        <p:spPr>
          <a:xfrm>
            <a:off x="373350" y="5589240"/>
            <a:ext cx="101154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732D"/>
                </a:solidFill>
              </a:rPr>
              <a:t>Verification of IRN or QR Code </a:t>
            </a:r>
            <a:r>
              <a:rPr lang="en-US" b="1" dirty="0">
                <a:solidFill>
                  <a:srgbClr val="00732D"/>
                </a:solidFill>
                <a:sym typeface="Wingdings" panose="05000000000000000000" pitchFamily="2" charset="2"/>
              </a:rPr>
              <a:t> through portal  / QR Code App</a:t>
            </a:r>
          </a:p>
        </p:txBody>
      </p:sp>
      <p:pic>
        <p:nvPicPr>
          <p:cNvPr id="8" name="Picture 7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20573277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Mandatory / Optional Fields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5C8A3410-A996-4CCE-9E7E-86100213E0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30459464"/>
              </p:ext>
            </p:extLst>
          </p:nvPr>
        </p:nvGraphicFramePr>
        <p:xfrm>
          <a:off x="480963" y="1556792"/>
          <a:ext cx="11089225" cy="4608508"/>
        </p:xfrm>
        <a:graphic>
          <a:graphicData uri="http://schemas.openxmlformats.org/drawingml/2006/table">
            <a:tbl>
              <a:tblPr/>
              <a:tblGrid>
                <a:gridCol w="817585">
                  <a:extLst>
                    <a:ext uri="{9D8B030D-6E8A-4147-A177-3AD203B41FA5}">
                      <a16:colId xmlns:a16="http://schemas.microsoft.com/office/drawing/2014/main" xmlns="" val="3874720098"/>
                    </a:ext>
                  </a:extLst>
                </a:gridCol>
                <a:gridCol w="1197590">
                  <a:extLst>
                    <a:ext uri="{9D8B030D-6E8A-4147-A177-3AD203B41FA5}">
                      <a16:colId xmlns:a16="http://schemas.microsoft.com/office/drawing/2014/main" xmlns="" val="838781838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1744004896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3241399879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2994120463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710301113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2024689284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1138357415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2503527593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651472556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1097086637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2725094121"/>
                    </a:ext>
                  </a:extLst>
                </a:gridCol>
                <a:gridCol w="748494">
                  <a:extLst>
                    <a:ext uri="{9D8B030D-6E8A-4147-A177-3AD203B41FA5}">
                      <a16:colId xmlns:a16="http://schemas.microsoft.com/office/drawing/2014/main" xmlns="" val="830172347"/>
                    </a:ext>
                  </a:extLst>
                </a:gridCol>
                <a:gridCol w="840616">
                  <a:extLst>
                    <a:ext uri="{9D8B030D-6E8A-4147-A177-3AD203B41FA5}">
                      <a16:colId xmlns:a16="http://schemas.microsoft.com/office/drawing/2014/main" xmlns="" val="3560644800"/>
                    </a:ext>
                  </a:extLst>
                </a:gridCol>
              </a:tblGrid>
              <a:tr h="4526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Basic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Period / </a:t>
                      </a:r>
                      <a:b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Preceding Doc. Ref. /</a:t>
                      </a:r>
                      <a:b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Receipt Ref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Buyer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Dispatch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Export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Item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Document</a:t>
                      </a:r>
                      <a:b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  <a:b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Details 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Payee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Seller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Ship to Detail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e-way Bil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4515501"/>
                  </a:ext>
                </a:extLst>
              </a:tr>
              <a:tr h="274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Invoice schema Versio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Period Start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GSTI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voice Currency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r. No. of Ite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GST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tem Descriptio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tch Numbe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axable Value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ayee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GSTI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porter ID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3973191"/>
                  </a:ext>
                </a:extLst>
              </a:tr>
              <a:tr h="274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R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Period End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Trade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untry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ervi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GST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r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tch Expiry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GST Amount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nk Account No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Trade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Legal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 Mode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434204"/>
                  </a:ext>
                </a:extLst>
              </a:tr>
              <a:tr h="274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y Typ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ceding Document</a:t>
                      </a:r>
                      <a:b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umbe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GSTI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Address 1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voice Value FC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HSN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GST/UT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ree Quantity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arranty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GST Amount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ode of Payme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GSTI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Trade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 Distance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1033911"/>
                  </a:ext>
                </a:extLst>
              </a:tr>
              <a:tr h="274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Typ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ceding Document</a:t>
                      </a:r>
                      <a:b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lace of Supply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Address 2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ort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r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tem Disc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ss R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trribute Nam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GST/UT Amount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ranch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Address1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Address 1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 Name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21523906"/>
                  </a:ext>
                </a:extLst>
              </a:tr>
              <a:tr h="30174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Numbe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ther Referen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Address 1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Pla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ping Bill No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Quantity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Other Charge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ss Advalore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trribute Valu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mp. Cess Amount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ayment Term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Address2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Address 2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 Doc No. 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33446226"/>
                  </a:ext>
                </a:extLst>
              </a:tr>
              <a:tr h="30174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cument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ceipt Advice Ref &amp;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Address 2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State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ping Bill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Uo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tem Total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ss Non- Advalore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te Cess Amount Tot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ayment Instructio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Pla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Pla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ans Doc Date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69176593"/>
                  </a:ext>
                </a:extLst>
              </a:tr>
              <a:tr h="41147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dditional Currency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ender / Lot Ref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Pla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from Pin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mark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tem Pri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ross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ss specific Valu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count Amount Invioce Leve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redit Transfe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St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Pin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ehicle No.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9476"/>
                  </a:ext>
                </a:extLst>
              </a:tr>
              <a:tr h="30174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verse Charg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 Ref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State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spatcher St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xport Duty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-tax Valu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Unique Serial Numbe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te Cess R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ther Charges Invioce Leve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rect Debi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Pin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hip to State 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ehicle Type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5042873"/>
                  </a:ext>
                </a:extLst>
              </a:tr>
              <a:tr h="452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GST Applicability [supply within state / UT]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xternal Ref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Pincod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can opt refund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axable Valu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urchase Order Line Referenc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te Cess Amount Advalore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ound off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redit Days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 Phon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59926086"/>
                  </a:ext>
                </a:extLst>
              </a:tr>
              <a:tr h="41147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ComGSTIN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 Ref.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 Phon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ST R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te Cess Amount Non-Advalorem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 Invoice Value in IN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pplier-Emai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85523167"/>
                  </a:ext>
                </a:extLst>
              </a:tr>
              <a:tr h="30174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O Ref. No &amp; Dat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ustomer-Emai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 Invoice Value in FCNR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53577779"/>
                  </a:ext>
                </a:extLst>
              </a:tr>
              <a:tr h="15087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aid Amount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64723085"/>
                  </a:ext>
                </a:extLst>
              </a:tr>
              <a:tr h="15087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mount Due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21228927"/>
                  </a:ext>
                </a:extLst>
              </a:tr>
              <a:tr h="274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ndatory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ditional Mandatory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tional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322" marR="6322" marT="6322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0712527"/>
                  </a:ext>
                </a:extLst>
              </a:tr>
            </a:tbl>
          </a:graphicData>
        </a:graphic>
      </p:graphicFrame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39537748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Exemptions</a:t>
            </a:r>
            <a:r>
              <a:rPr lang="en-US" sz="2800" baseline="30000" dirty="0">
                <a:solidFill>
                  <a:srgbClr val="63B343"/>
                </a:solidFill>
              </a:rPr>
              <a:t>+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0" y="1268760"/>
            <a:ext cx="11233248" cy="48799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B2C supplies </a:t>
            </a:r>
            <a:r>
              <a:rPr lang="en-US" sz="2100" dirty="0">
                <a:solidFill>
                  <a:srgbClr val="EB690F"/>
                </a:solidFill>
              </a:rPr>
              <a:t>(if the Supplier’s TO INR &lt;500 Crores)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Special Economic Zone Units </a:t>
            </a:r>
            <a:r>
              <a:rPr lang="en-US" sz="2100" dirty="0">
                <a:solidFill>
                  <a:srgbClr val="EB690F"/>
                </a:solidFill>
              </a:rPr>
              <a:t>[Not SEZ Developer] 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[Incl. </a:t>
            </a:r>
            <a:r>
              <a:rPr lang="en-IN" sz="2100" dirty="0">
                <a:solidFill>
                  <a:schemeClr val="bg1">
                    <a:lumMod val="50000"/>
                  </a:schemeClr>
                </a:solidFill>
              </a:rPr>
              <a:t>Free Trade &amp; Warehousing Zones FTWZ]</a:t>
            </a:r>
            <a:endParaRPr lang="en-US" sz="2100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rgbClr val="EB690F"/>
                </a:solidFill>
              </a:rPr>
              <a:t>Insurer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or a </a:t>
            </a:r>
            <a:r>
              <a:rPr lang="en-US" sz="2100" dirty="0">
                <a:solidFill>
                  <a:srgbClr val="EB690F"/>
                </a:solidFill>
              </a:rPr>
              <a:t>banking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company or a financial institution, including a non-banking financial company 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rgbClr val="EB690F"/>
                </a:solidFill>
              </a:rPr>
              <a:t>Goods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100" dirty="0">
                <a:solidFill>
                  <a:srgbClr val="EB690F"/>
                </a:solidFill>
              </a:rPr>
              <a:t>Transport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100" dirty="0">
                <a:solidFill>
                  <a:srgbClr val="EB690F"/>
                </a:solidFill>
              </a:rPr>
              <a:t>Agency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supplying services in relation to transportation of goods by road in a goods carriage 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Suppliers of </a:t>
            </a:r>
            <a:r>
              <a:rPr lang="en-US" sz="2100" dirty="0">
                <a:solidFill>
                  <a:srgbClr val="EB690F"/>
                </a:solidFill>
              </a:rPr>
              <a:t>passenger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100" dirty="0">
                <a:solidFill>
                  <a:srgbClr val="EB690F"/>
                </a:solidFill>
              </a:rPr>
              <a:t>transportation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service 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Suppliers of services by way of </a:t>
            </a:r>
            <a:r>
              <a:rPr lang="en-US" sz="2100" dirty="0">
                <a:solidFill>
                  <a:srgbClr val="EB690F"/>
                </a:solidFill>
              </a:rPr>
              <a:t>admission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to </a:t>
            </a:r>
            <a:r>
              <a:rPr lang="en-US" sz="2100" dirty="0">
                <a:solidFill>
                  <a:srgbClr val="EB690F"/>
                </a:solidFill>
              </a:rPr>
              <a:t>exhibition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of </a:t>
            </a:r>
            <a:r>
              <a:rPr lang="en-US" sz="2100" dirty="0">
                <a:solidFill>
                  <a:srgbClr val="EB690F"/>
                </a:solidFill>
              </a:rPr>
              <a:t>cinematograph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100" dirty="0">
                <a:solidFill>
                  <a:srgbClr val="EB690F"/>
                </a:solidFill>
              </a:rPr>
              <a:t>films</a:t>
            </a:r>
            <a:r>
              <a:rPr lang="en-US" sz="2100" dirty="0">
                <a:solidFill>
                  <a:schemeClr val="bg1">
                    <a:lumMod val="50000"/>
                  </a:schemeClr>
                </a:solidFill>
              </a:rPr>
              <a:t> in multiplex screens</a:t>
            </a:r>
            <a:endParaRPr lang="en-IN" sz="2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xmlns="" id="{527A1BF3-0EFE-47CA-8661-F6D4B8AF438F}"/>
              </a:ext>
            </a:extLst>
          </p:cNvPr>
          <p:cNvSpPr/>
          <p:nvPr/>
        </p:nvSpPr>
        <p:spPr bwMode="gray">
          <a:xfrm flipH="1">
            <a:off x="9337947" y="548680"/>
            <a:ext cx="2160240" cy="936104"/>
          </a:xfrm>
          <a:prstGeom prst="wedgeRectCallout">
            <a:avLst>
              <a:gd name="adj1" fmla="val -1550"/>
              <a:gd name="adj2" fmla="val 99019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Exemption at the Entity Level</a:t>
            </a:r>
            <a:endParaRPr lang="en-IN" sz="1800" dirty="0" err="1">
              <a:solidFill>
                <a:schemeClr val="bg1"/>
              </a:solidFill>
            </a:endParaRP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83987" y="76200"/>
            <a:ext cx="4572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338591276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Documents Included / Excluded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6CE39F0-D34F-40BA-8615-1670AC9FA800}"/>
              </a:ext>
            </a:extLst>
          </p:cNvPr>
          <p:cNvSpPr/>
          <p:nvPr/>
        </p:nvSpPr>
        <p:spPr>
          <a:xfrm>
            <a:off x="624979" y="1484784"/>
            <a:ext cx="5207476" cy="37702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00732D"/>
                </a:solidFill>
              </a:rPr>
              <a:t>Documents to be reported</a:t>
            </a:r>
            <a:endParaRPr lang="en-US" sz="2200" dirty="0">
              <a:solidFill>
                <a:srgbClr val="00732D"/>
              </a:solidFill>
            </a:endParaRPr>
          </a:p>
          <a:p>
            <a:endParaRPr lang="en-US" sz="2200" dirty="0">
              <a:solidFill>
                <a:srgbClr val="000000"/>
              </a:solidFill>
            </a:endParaRP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rgbClr val="EB690F"/>
                </a:solidFill>
              </a:rPr>
              <a:t>Tax</a:t>
            </a: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200" dirty="0">
                <a:solidFill>
                  <a:srgbClr val="EB690F"/>
                </a:solidFill>
              </a:rPr>
              <a:t>Invoice</a:t>
            </a:r>
          </a:p>
          <a:p>
            <a:pPr marL="914400" lvl="1" indent="-457200">
              <a:lnSpc>
                <a:spcPts val="264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B2B</a:t>
            </a:r>
          </a:p>
          <a:p>
            <a:pPr marL="914400" lvl="1" indent="-457200">
              <a:lnSpc>
                <a:spcPts val="264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Export Invoices</a:t>
            </a:r>
          </a:p>
          <a:p>
            <a:pPr marL="914400" lvl="1" indent="-457200">
              <a:lnSpc>
                <a:spcPts val="264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Supplies to SEZ</a:t>
            </a:r>
          </a:p>
          <a:p>
            <a:pPr marL="914400" lvl="1" indent="-457200">
              <a:lnSpc>
                <a:spcPts val="264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Deemed Exports</a:t>
            </a:r>
          </a:p>
          <a:p>
            <a:pPr lvl="1">
              <a:lnSpc>
                <a:spcPts val="2640"/>
              </a:lnSpc>
            </a:pPr>
            <a:endParaRPr lang="en-US" sz="22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Debit Note 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endParaRPr lang="en-US" sz="22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Credit No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86620B8-8F95-41CE-9C9B-7284C6716BFA}"/>
              </a:ext>
            </a:extLst>
          </p:cNvPr>
          <p:cNvSpPr/>
          <p:nvPr/>
        </p:nvSpPr>
        <p:spPr>
          <a:xfrm>
            <a:off x="6517485" y="1484784"/>
            <a:ext cx="5207477" cy="44422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00732D"/>
                </a:solidFill>
              </a:rPr>
              <a:t>Documents not required to be reported</a:t>
            </a:r>
          </a:p>
          <a:p>
            <a:endParaRPr lang="en-US" sz="2200" b="1" dirty="0">
              <a:solidFill>
                <a:srgbClr val="000000"/>
              </a:solidFill>
            </a:endParaRP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b="1" dirty="0">
                <a:solidFill>
                  <a:srgbClr val="BE001E"/>
                </a:solidFill>
              </a:rPr>
              <a:t>Debit Note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b="1" dirty="0">
                <a:solidFill>
                  <a:srgbClr val="BE001E"/>
                </a:solidFill>
              </a:rPr>
              <a:t>Credit Note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Delivery Challan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Bill of Supply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Bill of Entry 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Payment Voucher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Refund /Receipt Voucher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Self invoice generated w.r.t RCM Supplies [u/s 9(3) &amp; 9(4)]</a:t>
            </a:r>
          </a:p>
          <a:p>
            <a:pPr marL="457200" indent="-457200">
              <a:lnSpc>
                <a:spcPts val="2640"/>
              </a:lnSpc>
              <a:buAutoNum type="arabicPeriod"/>
            </a:pPr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ISD Invoices</a:t>
            </a:r>
          </a:p>
        </p:txBody>
      </p:sp>
      <p:pic>
        <p:nvPicPr>
          <p:cNvPr id="6" name="Picture 5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365763358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10"/>
          <p:cNvSpPr>
            <a:spLocks noGrp="1"/>
          </p:cNvSpPr>
          <p:nvPr>
            <p:ph type="body" sz="quarter" idx="4294967295"/>
          </p:nvPr>
        </p:nvSpPr>
        <p:spPr bwMode="gray">
          <a:xfrm>
            <a:off x="480963" y="764704"/>
            <a:ext cx="10296000" cy="4320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63B343"/>
                </a:solidFill>
              </a:rPr>
              <a:t>Transactions Incl. / </a:t>
            </a:r>
            <a:r>
              <a:rPr lang="en-US" sz="2800" dirty="0">
                <a:solidFill>
                  <a:srgbClr val="BE001E"/>
                </a:solidFill>
              </a:rPr>
              <a:t>Excl.</a:t>
            </a:r>
            <a:r>
              <a:rPr lang="en-US" sz="2800" dirty="0">
                <a:solidFill>
                  <a:srgbClr val="63B343"/>
                </a:solidFill>
              </a:rPr>
              <a:t> </a:t>
            </a:r>
          </a:p>
        </p:txBody>
      </p:sp>
      <p:sp>
        <p:nvSpPr>
          <p:cNvPr id="38" name="Titel 6"/>
          <p:cNvSpPr txBox="1">
            <a:spLocks/>
          </p:cNvSpPr>
          <p:nvPr/>
        </p:nvSpPr>
        <p:spPr bwMode="gray">
          <a:xfrm>
            <a:off x="408955" y="116632"/>
            <a:ext cx="10296000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-Invoi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735E046-F9E4-497E-9EFB-02383817C630}"/>
              </a:ext>
            </a:extLst>
          </p:cNvPr>
          <p:cNvSpPr/>
          <p:nvPr/>
        </p:nvSpPr>
        <p:spPr>
          <a:xfrm>
            <a:off x="480963" y="1268760"/>
            <a:ext cx="11233248" cy="505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All </a:t>
            </a:r>
            <a:r>
              <a:rPr lang="en-US" sz="2000" dirty="0">
                <a:solidFill>
                  <a:srgbClr val="EB690F"/>
                </a:solidFill>
              </a:rPr>
              <a:t>B2B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/ </a:t>
            </a:r>
            <a:r>
              <a:rPr lang="en-US" sz="2000" dirty="0">
                <a:solidFill>
                  <a:srgbClr val="EB690F"/>
                </a:solidFill>
              </a:rPr>
              <a:t>Export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</a:rPr>
              <a:t>+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or </a:t>
            </a:r>
            <a:r>
              <a:rPr lang="en-US" sz="2000" dirty="0">
                <a:solidFill>
                  <a:srgbClr val="EB690F"/>
                </a:solidFill>
              </a:rPr>
              <a:t>SEZ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with or w/o GST and </a:t>
            </a:r>
            <a:r>
              <a:rPr lang="en-US" sz="2000" dirty="0">
                <a:solidFill>
                  <a:srgbClr val="EB690F"/>
                </a:solidFill>
              </a:rPr>
              <a:t>deeme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export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Stock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Transfer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/ </a:t>
            </a:r>
            <a:r>
              <a:rPr lang="en-US" sz="2000" dirty="0">
                <a:solidFill>
                  <a:srgbClr val="EB690F"/>
                </a:solidFill>
              </a:rPr>
              <a:t>Servic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Transfer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Invoices / </a:t>
            </a:r>
            <a:r>
              <a:rPr lang="en-US" sz="2000" dirty="0">
                <a:solidFill>
                  <a:srgbClr val="EB690F"/>
                </a:solidFill>
              </a:rPr>
              <a:t>Corpora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Cross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Charges Service Invoice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EB690F"/>
                </a:solidFill>
              </a:rPr>
              <a:t>Exhibitio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Sales / Sale on </a:t>
            </a:r>
            <a:r>
              <a:rPr lang="en-US" sz="2000" dirty="0">
                <a:solidFill>
                  <a:srgbClr val="EB690F"/>
                </a:solidFill>
              </a:rPr>
              <a:t>approval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Supplies to </a:t>
            </a:r>
            <a:r>
              <a:rPr lang="en-US" sz="2000" dirty="0">
                <a:solidFill>
                  <a:srgbClr val="EB690F"/>
                </a:solidFill>
              </a:rPr>
              <a:t>Governmen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– with GSTN or </a:t>
            </a:r>
            <a:r>
              <a:rPr lang="en-US" sz="2000" dirty="0">
                <a:solidFill>
                  <a:srgbClr val="EB690F"/>
                </a:solidFill>
              </a:rPr>
              <a:t>GST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the purpose of </a:t>
            </a:r>
            <a:r>
              <a:rPr lang="en-US" sz="2000" dirty="0">
                <a:solidFill>
                  <a:srgbClr val="EB690F"/>
                </a:solidFill>
              </a:rPr>
              <a:t>deducting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TD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Legal Entity has </a:t>
            </a:r>
            <a:r>
              <a:rPr lang="en-US" sz="2000" dirty="0">
                <a:solidFill>
                  <a:srgbClr val="EB690F"/>
                </a:solidFill>
              </a:rPr>
              <a:t>SEZ unit &amp; DTA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, DTA require to issue e-Invoice? 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Invoice issued towards </a:t>
            </a:r>
            <a:r>
              <a:rPr lang="en-US" sz="2000" dirty="0">
                <a:solidFill>
                  <a:srgbClr val="EB690F"/>
                </a:solidFill>
              </a:rPr>
              <a:t>interes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>
                <a:solidFill>
                  <a:srgbClr val="EB690F"/>
                </a:solidFill>
              </a:rPr>
              <a:t>receive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for the </a:t>
            </a:r>
            <a:r>
              <a:rPr lang="en-US" sz="2000" dirty="0">
                <a:solidFill>
                  <a:srgbClr val="EB690F"/>
                </a:solidFill>
              </a:rPr>
              <a:t>delaye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payment from the customer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Supplier who supplies notified goods or services w/o payment of GST in terms of Sec9(3) [</a:t>
            </a:r>
            <a:r>
              <a:rPr lang="en-US" sz="2000" dirty="0">
                <a:solidFill>
                  <a:srgbClr val="EB690F"/>
                </a:solidFill>
              </a:rPr>
              <a:t>RCM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]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CB334B"/>
                </a:solidFill>
              </a:rPr>
              <a:t>Sale of alcoholic liquor for human consumption &amp; petroleum products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CB334B"/>
                </a:solidFill>
              </a:rPr>
              <a:t>Supply of exempted goods or services [where </a:t>
            </a:r>
            <a:r>
              <a:rPr lang="en-US" sz="2000" b="1" dirty="0">
                <a:solidFill>
                  <a:srgbClr val="CB334B"/>
                </a:solidFill>
              </a:rPr>
              <a:t>Bill of Supply </a:t>
            </a:r>
            <a:r>
              <a:rPr lang="en-US" sz="2000" dirty="0">
                <a:solidFill>
                  <a:srgbClr val="CB334B"/>
                </a:solidFill>
              </a:rPr>
              <a:t>being issued]</a:t>
            </a:r>
          </a:p>
          <a:p>
            <a:pPr marL="800100" lvl="1" indent="-342900" algn="just">
              <a:lnSpc>
                <a:spcPts val="3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CB334B"/>
                </a:solidFill>
              </a:rPr>
              <a:t>High Sea Sales / Bonded warehouse Sales / Merchandised Exports [Schedule III supplies]</a:t>
            </a:r>
          </a:p>
        </p:txBody>
      </p:sp>
      <p:pic>
        <p:nvPicPr>
          <p:cNvPr id="5" name="Picture 4" descr="C:\Users\Administrator\AppData\Local\Microsoft\Windows Live Mail\WLMDSS.tmp\WLM577A.tmp\logo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1587" y="76200"/>
            <a:ext cx="609600" cy="10668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xmlns="" val="147497866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N+HUMMEL">
  <a:themeElements>
    <a:clrScheme name="Mann + Hummel">
      <a:dk1>
        <a:sysClr val="windowText" lastClr="000000"/>
      </a:dk1>
      <a:lt1>
        <a:sysClr val="window" lastClr="FFFFFF"/>
      </a:lt1>
      <a:dk2>
        <a:srgbClr val="000000"/>
      </a:dk2>
      <a:lt2>
        <a:srgbClr val="E0E0E0"/>
      </a:lt2>
      <a:accent1>
        <a:srgbClr val="00732D"/>
      </a:accent1>
      <a:accent2>
        <a:srgbClr val="3CA014"/>
      </a:accent2>
      <a:accent3>
        <a:srgbClr val="EB690F"/>
      </a:accent3>
      <a:accent4>
        <a:srgbClr val="BE001E"/>
      </a:accent4>
      <a:accent5>
        <a:srgbClr val="666666"/>
      </a:accent5>
      <a:accent6>
        <a:srgbClr val="CCCCCC"/>
      </a:accent6>
      <a:hlink>
        <a:srgbClr val="00732D"/>
      </a:hlink>
      <a:folHlink>
        <a:srgbClr val="00732D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Mann+Hummel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32D"/>
      </a:accent1>
      <a:accent2>
        <a:srgbClr val="EB690F"/>
      </a:accent2>
      <a:accent3>
        <a:srgbClr val="000000"/>
      </a:accent3>
      <a:accent4>
        <a:srgbClr val="BE001E"/>
      </a:accent4>
      <a:accent5>
        <a:srgbClr val="666666"/>
      </a:accent5>
      <a:accent6>
        <a:srgbClr val="3CA014"/>
      </a:accent6>
      <a:hlink>
        <a:srgbClr val="00732D"/>
      </a:hlink>
      <a:folHlink>
        <a:srgbClr val="3CA014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ann+Hummel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32D"/>
      </a:accent1>
      <a:accent2>
        <a:srgbClr val="EB690F"/>
      </a:accent2>
      <a:accent3>
        <a:srgbClr val="000000"/>
      </a:accent3>
      <a:accent4>
        <a:srgbClr val="BE001E"/>
      </a:accent4>
      <a:accent5>
        <a:srgbClr val="666666"/>
      </a:accent5>
      <a:accent6>
        <a:srgbClr val="3CA014"/>
      </a:accent6>
      <a:hlink>
        <a:srgbClr val="00732D"/>
      </a:hlink>
      <a:folHlink>
        <a:srgbClr val="3CA014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7[[fn=Berlin]]</Template>
  <TotalTime>2502</TotalTime>
  <Words>2319</Words>
  <Application>Microsoft Office PowerPoint</Application>
  <PresentationFormat>Custom</PresentationFormat>
  <Paragraphs>457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MANN+HUMMEL</vt:lpstr>
      <vt:lpstr>think-cell Slide</vt:lpstr>
      <vt:lpstr>E-Invoice  GST - 2.0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</vt:vector>
  </TitlesOfParts>
  <Company>Mann+Hummel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ubtitle in next line</dc:title>
  <dc:creator>Joshat, Gero</dc:creator>
  <dc:description>optimiert für Powerpoint 2010</dc:description>
  <cp:lastModifiedBy>Debasmita</cp:lastModifiedBy>
  <cp:revision>2368</cp:revision>
  <cp:lastPrinted>2020-01-27T05:48:03Z</cp:lastPrinted>
  <dcterms:created xsi:type="dcterms:W3CDTF">2016-01-15T09:08:17Z</dcterms:created>
  <dcterms:modified xsi:type="dcterms:W3CDTF">2021-01-01T07:1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ffbf02b-c51e-4a04-b787-9d2574e87591_Enabled">
    <vt:lpwstr>true</vt:lpwstr>
  </property>
  <property fmtid="{D5CDD505-2E9C-101B-9397-08002B2CF9AE}" pid="3" name="MSIP_Label_bffbf02b-c51e-4a04-b787-9d2574e87591_SetDate">
    <vt:lpwstr>2020-12-27T05:32:50Z</vt:lpwstr>
  </property>
  <property fmtid="{D5CDD505-2E9C-101B-9397-08002B2CF9AE}" pid="4" name="MSIP_Label_bffbf02b-c51e-4a04-b787-9d2574e87591_Method">
    <vt:lpwstr>Standard</vt:lpwstr>
  </property>
  <property fmtid="{D5CDD505-2E9C-101B-9397-08002B2CF9AE}" pid="5" name="MSIP_Label_bffbf02b-c51e-4a04-b787-9d2574e87591_Name">
    <vt:lpwstr>Internal - Normal [C-L2)</vt:lpwstr>
  </property>
  <property fmtid="{D5CDD505-2E9C-101B-9397-08002B2CF9AE}" pid="6" name="MSIP_Label_bffbf02b-c51e-4a04-b787-9d2574e87591_SiteId">
    <vt:lpwstr>23bf2ff5-a6d4-41d1-9e7b-2f86544e44a4</vt:lpwstr>
  </property>
  <property fmtid="{D5CDD505-2E9C-101B-9397-08002B2CF9AE}" pid="7" name="MSIP_Label_bffbf02b-c51e-4a04-b787-9d2574e87591_ActionId">
    <vt:lpwstr>869ea638-f4d2-45ef-8bc7-ec0ce80a4cc7</vt:lpwstr>
  </property>
  <property fmtid="{D5CDD505-2E9C-101B-9397-08002B2CF9AE}" pid="8" name="MSIP_Label_bffbf02b-c51e-4a04-b787-9d2574e87591_ContentBits">
    <vt:lpwstr>0</vt:lpwstr>
  </property>
</Properties>
</file>